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5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6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4" r:id="rId1"/>
  </p:sldMasterIdLst>
  <p:notesMasterIdLst>
    <p:notesMasterId r:id="rId11"/>
  </p:notesMasterIdLst>
  <p:handoutMasterIdLst>
    <p:handoutMasterId r:id="rId12"/>
  </p:handoutMasterIdLst>
  <p:sldIdLst>
    <p:sldId id="532" r:id="rId2"/>
    <p:sldId id="533" r:id="rId3"/>
    <p:sldId id="534" r:id="rId4"/>
    <p:sldId id="495" r:id="rId5"/>
    <p:sldId id="496" r:id="rId6"/>
    <p:sldId id="497" r:id="rId7"/>
    <p:sldId id="449" r:id="rId8"/>
    <p:sldId id="499" r:id="rId9"/>
    <p:sldId id="547" r:id="rId10"/>
  </p:sldIdLst>
  <p:sldSz cx="12188825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see, Joseph" initials="LJ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99"/>
    <a:srgbClr val="6699FF"/>
    <a:srgbClr val="B9B9B9"/>
    <a:srgbClr val="00668A"/>
    <a:srgbClr val="3F3F3F"/>
    <a:srgbClr val="0070C0"/>
    <a:srgbClr val="FFFFFF"/>
    <a:srgbClr val="0D0D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006" autoAdjust="0"/>
    <p:restoredTop sz="80136" autoAdjust="0"/>
  </p:normalViewPr>
  <p:slideViewPr>
    <p:cSldViewPr>
      <p:cViewPr varScale="1">
        <p:scale>
          <a:sx n="101" d="100"/>
          <a:sy n="101" d="100"/>
        </p:scale>
        <p:origin x="1136" y="192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-19454"/>
    </p:cViewPr>
  </p:sorterViewPr>
  <p:notesViewPr>
    <p:cSldViewPr>
      <p:cViewPr varScale="1">
        <p:scale>
          <a:sx n="66" d="100"/>
          <a:sy n="66" d="100"/>
        </p:scale>
        <p:origin x="3043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2BA0D8E-884F-D545-BFF7-95207C181DAB}" type="doc">
      <dgm:prSet loTypeId="urn:microsoft.com/office/officeart/2008/layout/LinedLis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CF0461F7-EC97-BB41-A574-9C1E3009EACC}">
      <dgm:prSet/>
      <dgm:spPr/>
      <dgm:t>
        <a:bodyPr/>
        <a:lstStyle/>
        <a:p>
          <a:pPr rtl="0"/>
          <a:r>
            <a:rPr lang="en-CA" dirty="0"/>
            <a:t>rrsp</a:t>
          </a:r>
        </a:p>
      </dgm:t>
    </dgm:pt>
    <dgm:pt modelId="{B2C709E6-0566-4D4E-97EA-2EBE699D701F}" type="parTrans" cxnId="{674D6C8A-30E6-564D-9142-120BB4D947A9}">
      <dgm:prSet/>
      <dgm:spPr/>
      <dgm:t>
        <a:bodyPr/>
        <a:lstStyle/>
        <a:p>
          <a:endParaRPr lang="en-CA"/>
        </a:p>
      </dgm:t>
    </dgm:pt>
    <dgm:pt modelId="{ABC1C475-5434-1B41-BC48-ADC728C8CBF7}" type="sibTrans" cxnId="{674D6C8A-30E6-564D-9142-120BB4D947A9}">
      <dgm:prSet/>
      <dgm:spPr/>
      <dgm:t>
        <a:bodyPr/>
        <a:lstStyle/>
        <a:p>
          <a:endParaRPr lang="en-CA"/>
        </a:p>
      </dgm:t>
    </dgm:pt>
    <dgm:pt modelId="{C8A9BCB3-602F-FC4A-9626-FAF506510228}">
      <dgm:prSet/>
      <dgm:spPr/>
      <dgm:t>
        <a:bodyPr/>
        <a:lstStyle/>
        <a:p>
          <a:pPr rtl="0"/>
          <a:r>
            <a:rPr lang="en-CA" dirty="0"/>
            <a:t>medical expenses</a:t>
          </a:r>
        </a:p>
      </dgm:t>
    </dgm:pt>
    <dgm:pt modelId="{0B803AD3-6C2C-FE47-9803-37C40BE4582E}" type="parTrans" cxnId="{56EF0DD2-1AD6-AC4D-8684-479C4202D190}">
      <dgm:prSet/>
      <dgm:spPr/>
      <dgm:t>
        <a:bodyPr/>
        <a:lstStyle/>
        <a:p>
          <a:endParaRPr lang="en-CA"/>
        </a:p>
      </dgm:t>
    </dgm:pt>
    <dgm:pt modelId="{8C959BF5-5ADE-2F4A-B433-E7E671FD26BE}" type="sibTrans" cxnId="{56EF0DD2-1AD6-AC4D-8684-479C4202D190}">
      <dgm:prSet/>
      <dgm:spPr/>
      <dgm:t>
        <a:bodyPr/>
        <a:lstStyle/>
        <a:p>
          <a:endParaRPr lang="en-CA"/>
        </a:p>
      </dgm:t>
    </dgm:pt>
    <dgm:pt modelId="{C1F45B1D-0B2A-E54E-A75D-0C36DB1F4549}" type="pres">
      <dgm:prSet presAssocID="{02BA0D8E-884F-D545-BFF7-95207C181DAB}" presName="vert0" presStyleCnt="0">
        <dgm:presLayoutVars>
          <dgm:dir/>
          <dgm:animOne val="branch"/>
          <dgm:animLvl val="lvl"/>
        </dgm:presLayoutVars>
      </dgm:prSet>
      <dgm:spPr/>
    </dgm:pt>
    <dgm:pt modelId="{D86BEEAC-6C22-6B49-8CBB-D7528DFFA3F0}" type="pres">
      <dgm:prSet presAssocID="{CF0461F7-EC97-BB41-A574-9C1E3009EACC}" presName="thickLine" presStyleLbl="alignNode1" presStyleIdx="0" presStyleCnt="2"/>
      <dgm:spPr/>
    </dgm:pt>
    <dgm:pt modelId="{FA2874EF-C854-AC4F-991E-55047D3B4E0E}" type="pres">
      <dgm:prSet presAssocID="{CF0461F7-EC97-BB41-A574-9C1E3009EACC}" presName="horz1" presStyleCnt="0"/>
      <dgm:spPr/>
    </dgm:pt>
    <dgm:pt modelId="{1CC4042F-BC1A-EB43-806F-E0064A6AAC89}" type="pres">
      <dgm:prSet presAssocID="{CF0461F7-EC97-BB41-A574-9C1E3009EACC}" presName="tx1" presStyleLbl="revTx" presStyleIdx="0" presStyleCnt="2"/>
      <dgm:spPr/>
    </dgm:pt>
    <dgm:pt modelId="{F5153E52-5B5C-F542-B29E-0C5BB65EE9D2}" type="pres">
      <dgm:prSet presAssocID="{CF0461F7-EC97-BB41-A574-9C1E3009EACC}" presName="vert1" presStyleCnt="0"/>
      <dgm:spPr/>
    </dgm:pt>
    <dgm:pt modelId="{6EBB38CD-EF96-FE4F-813D-B38FFF5D7CA0}" type="pres">
      <dgm:prSet presAssocID="{C8A9BCB3-602F-FC4A-9626-FAF506510228}" presName="thickLine" presStyleLbl="alignNode1" presStyleIdx="1" presStyleCnt="2"/>
      <dgm:spPr/>
    </dgm:pt>
    <dgm:pt modelId="{2A5FF6C1-20B7-E044-B211-2E1A17111B92}" type="pres">
      <dgm:prSet presAssocID="{C8A9BCB3-602F-FC4A-9626-FAF506510228}" presName="horz1" presStyleCnt="0"/>
      <dgm:spPr/>
    </dgm:pt>
    <dgm:pt modelId="{1BE7AAF4-C253-BA43-BF03-9231DE66F2D5}" type="pres">
      <dgm:prSet presAssocID="{C8A9BCB3-602F-FC4A-9626-FAF506510228}" presName="tx1" presStyleLbl="revTx" presStyleIdx="1" presStyleCnt="2"/>
      <dgm:spPr/>
    </dgm:pt>
    <dgm:pt modelId="{5807D8A0-F8BF-A141-BD73-B949B622B16C}" type="pres">
      <dgm:prSet presAssocID="{C8A9BCB3-602F-FC4A-9626-FAF506510228}" presName="vert1" presStyleCnt="0"/>
      <dgm:spPr/>
    </dgm:pt>
  </dgm:ptLst>
  <dgm:cxnLst>
    <dgm:cxn modelId="{C168930A-44B1-F84C-A113-72BEB83FF09F}" type="presOf" srcId="{02BA0D8E-884F-D545-BFF7-95207C181DAB}" destId="{C1F45B1D-0B2A-E54E-A75D-0C36DB1F4549}" srcOrd="0" destOrd="0" presId="urn:microsoft.com/office/officeart/2008/layout/LinedList"/>
    <dgm:cxn modelId="{674D6C8A-30E6-564D-9142-120BB4D947A9}" srcId="{02BA0D8E-884F-D545-BFF7-95207C181DAB}" destId="{CF0461F7-EC97-BB41-A574-9C1E3009EACC}" srcOrd="0" destOrd="0" parTransId="{B2C709E6-0566-4D4E-97EA-2EBE699D701F}" sibTransId="{ABC1C475-5434-1B41-BC48-ADC728C8CBF7}"/>
    <dgm:cxn modelId="{FBBFF1CF-C70C-8948-B1BD-1739BC7E5965}" type="presOf" srcId="{C8A9BCB3-602F-FC4A-9626-FAF506510228}" destId="{1BE7AAF4-C253-BA43-BF03-9231DE66F2D5}" srcOrd="0" destOrd="0" presId="urn:microsoft.com/office/officeart/2008/layout/LinedList"/>
    <dgm:cxn modelId="{56EF0DD2-1AD6-AC4D-8684-479C4202D190}" srcId="{02BA0D8E-884F-D545-BFF7-95207C181DAB}" destId="{C8A9BCB3-602F-FC4A-9626-FAF506510228}" srcOrd="1" destOrd="0" parTransId="{0B803AD3-6C2C-FE47-9803-37C40BE4582E}" sibTransId="{8C959BF5-5ADE-2F4A-B433-E7E671FD26BE}"/>
    <dgm:cxn modelId="{3AB402EB-5DF5-DE45-B441-C3D871CC417A}" type="presOf" srcId="{CF0461F7-EC97-BB41-A574-9C1E3009EACC}" destId="{1CC4042F-BC1A-EB43-806F-E0064A6AAC89}" srcOrd="0" destOrd="0" presId="urn:microsoft.com/office/officeart/2008/layout/LinedList"/>
    <dgm:cxn modelId="{030E9EE0-5BE8-3B4C-809E-228C33B10253}" type="presParOf" srcId="{C1F45B1D-0B2A-E54E-A75D-0C36DB1F4549}" destId="{D86BEEAC-6C22-6B49-8CBB-D7528DFFA3F0}" srcOrd="0" destOrd="0" presId="urn:microsoft.com/office/officeart/2008/layout/LinedList"/>
    <dgm:cxn modelId="{7677CBEC-D834-9940-94A6-ED4975C867F5}" type="presParOf" srcId="{C1F45B1D-0B2A-E54E-A75D-0C36DB1F4549}" destId="{FA2874EF-C854-AC4F-991E-55047D3B4E0E}" srcOrd="1" destOrd="0" presId="urn:microsoft.com/office/officeart/2008/layout/LinedList"/>
    <dgm:cxn modelId="{89860939-FB57-9847-A800-8E6B83E090EC}" type="presParOf" srcId="{FA2874EF-C854-AC4F-991E-55047D3B4E0E}" destId="{1CC4042F-BC1A-EB43-806F-E0064A6AAC89}" srcOrd="0" destOrd="0" presId="urn:microsoft.com/office/officeart/2008/layout/LinedList"/>
    <dgm:cxn modelId="{876095A6-D8FE-7541-8B3A-AD79C282A8E4}" type="presParOf" srcId="{FA2874EF-C854-AC4F-991E-55047D3B4E0E}" destId="{F5153E52-5B5C-F542-B29E-0C5BB65EE9D2}" srcOrd="1" destOrd="0" presId="urn:microsoft.com/office/officeart/2008/layout/LinedList"/>
    <dgm:cxn modelId="{393E7EA5-4143-D64E-8215-E5B1CAEB6323}" type="presParOf" srcId="{C1F45B1D-0B2A-E54E-A75D-0C36DB1F4549}" destId="{6EBB38CD-EF96-FE4F-813D-B38FFF5D7CA0}" srcOrd="2" destOrd="0" presId="urn:microsoft.com/office/officeart/2008/layout/LinedList"/>
    <dgm:cxn modelId="{8D3E119A-3ADD-5D40-8401-E27C2B0817A8}" type="presParOf" srcId="{C1F45B1D-0B2A-E54E-A75D-0C36DB1F4549}" destId="{2A5FF6C1-20B7-E044-B211-2E1A17111B92}" srcOrd="3" destOrd="0" presId="urn:microsoft.com/office/officeart/2008/layout/LinedList"/>
    <dgm:cxn modelId="{377865F5-F217-1B47-A983-657FD6BC1066}" type="presParOf" srcId="{2A5FF6C1-20B7-E044-B211-2E1A17111B92}" destId="{1BE7AAF4-C253-BA43-BF03-9231DE66F2D5}" srcOrd="0" destOrd="0" presId="urn:microsoft.com/office/officeart/2008/layout/LinedList"/>
    <dgm:cxn modelId="{E76BA14F-CB76-6A4A-965C-9784B5F7A69F}" type="presParOf" srcId="{2A5FF6C1-20B7-E044-B211-2E1A17111B92}" destId="{5807D8A0-F8BF-A141-BD73-B949B622B16C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44F371D9-EE28-43D3-A86D-541CB7E51DB8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2945230-8A03-49C4-AE11-508590DB7B8B}">
      <dgm:prSet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Page 17</a:t>
          </a:r>
        </a:p>
      </dgm:t>
    </dgm:pt>
    <dgm:pt modelId="{FC8924DD-BCE3-491E-AC57-3330F43EE0F3}" type="parTrans" cxnId="{5CB88DD1-22D4-42B5-A4FE-416A16A7EE1C}">
      <dgm:prSet/>
      <dgm:spPr/>
      <dgm:t>
        <a:bodyPr/>
        <a:lstStyle/>
        <a:p>
          <a:endParaRPr lang="en-US"/>
        </a:p>
      </dgm:t>
    </dgm:pt>
    <dgm:pt modelId="{0CE224DD-430C-4167-8C66-F0356FD49815}" type="sibTrans" cxnId="{5CB88DD1-22D4-42B5-A4FE-416A16A7EE1C}">
      <dgm:prSet/>
      <dgm:spPr/>
      <dgm:t>
        <a:bodyPr/>
        <a:lstStyle/>
        <a:p>
          <a:endParaRPr lang="en-US"/>
        </a:p>
      </dgm:t>
    </dgm:pt>
    <dgm:pt modelId="{834CDD0F-2A72-40E4-9F5C-254C6DC50A0F}" type="pres">
      <dgm:prSet presAssocID="{44F371D9-EE28-43D3-A86D-541CB7E51DB8}" presName="compositeShape" presStyleCnt="0">
        <dgm:presLayoutVars>
          <dgm:chMax val="7"/>
          <dgm:dir/>
          <dgm:resizeHandles val="exact"/>
        </dgm:presLayoutVars>
      </dgm:prSet>
      <dgm:spPr/>
    </dgm:pt>
    <dgm:pt modelId="{DDF5C611-4A57-4D32-BF4D-AD972F42154B}" type="pres">
      <dgm:prSet presAssocID="{C2945230-8A03-49C4-AE11-508590DB7B8B}" presName="circ1TxSh" presStyleLbl="vennNode1" presStyleIdx="0" presStyleCnt="1"/>
      <dgm:spPr/>
    </dgm:pt>
  </dgm:ptLst>
  <dgm:cxnLst>
    <dgm:cxn modelId="{7A3F2C3E-50BC-F34A-B76B-E05E3618F240}" type="presOf" srcId="{44F371D9-EE28-43D3-A86D-541CB7E51DB8}" destId="{834CDD0F-2A72-40E4-9F5C-254C6DC50A0F}" srcOrd="0" destOrd="0" presId="urn:microsoft.com/office/officeart/2005/8/layout/venn1"/>
    <dgm:cxn modelId="{2AECFEB9-5A9A-4A4F-B60A-2DEDDF657E49}" type="presOf" srcId="{C2945230-8A03-49C4-AE11-508590DB7B8B}" destId="{DDF5C611-4A57-4D32-BF4D-AD972F42154B}" srcOrd="0" destOrd="0" presId="urn:microsoft.com/office/officeart/2005/8/layout/venn1"/>
    <dgm:cxn modelId="{5CB88DD1-22D4-42B5-A4FE-416A16A7EE1C}" srcId="{44F371D9-EE28-43D3-A86D-541CB7E51DB8}" destId="{C2945230-8A03-49C4-AE11-508590DB7B8B}" srcOrd="0" destOrd="0" parTransId="{FC8924DD-BCE3-491E-AC57-3330F43EE0F3}" sibTransId="{0CE224DD-430C-4167-8C66-F0356FD49815}"/>
    <dgm:cxn modelId="{D4C59FF9-514F-0348-A6A0-C861E14DE888}" type="presParOf" srcId="{834CDD0F-2A72-40E4-9F5C-254C6DC50A0F}" destId="{DDF5C611-4A57-4D32-BF4D-AD972F42154B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4F371D9-EE28-43D3-A86D-541CB7E51DB8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2945230-8A03-49C4-AE11-508590DB7B8B}">
      <dgm:prSet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Page 7</a:t>
          </a:r>
        </a:p>
      </dgm:t>
    </dgm:pt>
    <dgm:pt modelId="{FC8924DD-BCE3-491E-AC57-3330F43EE0F3}" type="parTrans" cxnId="{5CB88DD1-22D4-42B5-A4FE-416A16A7EE1C}">
      <dgm:prSet/>
      <dgm:spPr/>
      <dgm:t>
        <a:bodyPr/>
        <a:lstStyle/>
        <a:p>
          <a:endParaRPr lang="en-US"/>
        </a:p>
      </dgm:t>
    </dgm:pt>
    <dgm:pt modelId="{0CE224DD-430C-4167-8C66-F0356FD49815}" type="sibTrans" cxnId="{5CB88DD1-22D4-42B5-A4FE-416A16A7EE1C}">
      <dgm:prSet/>
      <dgm:spPr/>
      <dgm:t>
        <a:bodyPr/>
        <a:lstStyle/>
        <a:p>
          <a:endParaRPr lang="en-US"/>
        </a:p>
      </dgm:t>
    </dgm:pt>
    <dgm:pt modelId="{834CDD0F-2A72-40E4-9F5C-254C6DC50A0F}" type="pres">
      <dgm:prSet presAssocID="{44F371D9-EE28-43D3-A86D-541CB7E51DB8}" presName="compositeShape" presStyleCnt="0">
        <dgm:presLayoutVars>
          <dgm:chMax val="7"/>
          <dgm:dir/>
          <dgm:resizeHandles val="exact"/>
        </dgm:presLayoutVars>
      </dgm:prSet>
      <dgm:spPr/>
    </dgm:pt>
    <dgm:pt modelId="{DDF5C611-4A57-4D32-BF4D-AD972F42154B}" type="pres">
      <dgm:prSet presAssocID="{C2945230-8A03-49C4-AE11-508590DB7B8B}" presName="circ1TxSh" presStyleLbl="vennNode1" presStyleIdx="0" presStyleCnt="1"/>
      <dgm:spPr/>
    </dgm:pt>
  </dgm:ptLst>
  <dgm:cxnLst>
    <dgm:cxn modelId="{0B5C6E73-1420-3746-9AC1-AC02BA83B004}" type="presOf" srcId="{C2945230-8A03-49C4-AE11-508590DB7B8B}" destId="{DDF5C611-4A57-4D32-BF4D-AD972F42154B}" srcOrd="0" destOrd="0" presId="urn:microsoft.com/office/officeart/2005/8/layout/venn1"/>
    <dgm:cxn modelId="{5CB88DD1-22D4-42B5-A4FE-416A16A7EE1C}" srcId="{44F371D9-EE28-43D3-A86D-541CB7E51DB8}" destId="{C2945230-8A03-49C4-AE11-508590DB7B8B}" srcOrd="0" destOrd="0" parTransId="{FC8924DD-BCE3-491E-AC57-3330F43EE0F3}" sibTransId="{0CE224DD-430C-4167-8C66-F0356FD49815}"/>
    <dgm:cxn modelId="{A0FFBED7-0860-D145-971D-9A2E181B7F44}" type="presOf" srcId="{44F371D9-EE28-43D3-A86D-541CB7E51DB8}" destId="{834CDD0F-2A72-40E4-9F5C-254C6DC50A0F}" srcOrd="0" destOrd="0" presId="urn:microsoft.com/office/officeart/2005/8/layout/venn1"/>
    <dgm:cxn modelId="{CA33AC62-9F2A-FF42-BB24-3A56CBDA1C7A}" type="presParOf" srcId="{834CDD0F-2A72-40E4-9F5C-254C6DC50A0F}" destId="{DDF5C611-4A57-4D32-BF4D-AD972F42154B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2BA0D8E-884F-D545-BFF7-95207C181DAB}" type="doc">
      <dgm:prSet loTypeId="urn:microsoft.com/office/officeart/2008/layout/LinedLis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CF0461F7-EC97-BB41-A574-9C1E3009EACC}">
      <dgm:prSet/>
      <dgm:spPr/>
      <dgm:t>
        <a:bodyPr/>
        <a:lstStyle/>
        <a:p>
          <a:pPr rtl="0"/>
          <a:r>
            <a:rPr lang="en-CA" dirty="0"/>
            <a:t>family linking</a:t>
          </a:r>
        </a:p>
      </dgm:t>
    </dgm:pt>
    <dgm:pt modelId="{B2C709E6-0566-4D4E-97EA-2EBE699D701F}" type="parTrans" cxnId="{674D6C8A-30E6-564D-9142-120BB4D947A9}">
      <dgm:prSet/>
      <dgm:spPr/>
      <dgm:t>
        <a:bodyPr/>
        <a:lstStyle/>
        <a:p>
          <a:endParaRPr lang="en-CA"/>
        </a:p>
      </dgm:t>
    </dgm:pt>
    <dgm:pt modelId="{ABC1C475-5434-1B41-BC48-ADC728C8CBF7}" type="sibTrans" cxnId="{674D6C8A-30E6-564D-9142-120BB4D947A9}">
      <dgm:prSet/>
      <dgm:spPr/>
      <dgm:t>
        <a:bodyPr/>
        <a:lstStyle/>
        <a:p>
          <a:endParaRPr lang="en-CA"/>
        </a:p>
      </dgm:t>
    </dgm:pt>
    <dgm:pt modelId="{19046CE4-597F-CD4A-AB52-A3C5E2A15403}">
      <dgm:prSet/>
      <dgm:spPr/>
      <dgm:t>
        <a:bodyPr/>
        <a:lstStyle/>
        <a:p>
          <a:pPr rtl="0"/>
          <a:r>
            <a:rPr lang="en-CA" dirty="0"/>
            <a:t>dependants</a:t>
          </a:r>
        </a:p>
      </dgm:t>
    </dgm:pt>
    <dgm:pt modelId="{3A450626-6637-D743-866A-CB3454228EF0}" type="parTrans" cxnId="{FAEE8D02-F38C-8843-9CE0-F19561AF8DEE}">
      <dgm:prSet/>
      <dgm:spPr/>
      <dgm:t>
        <a:bodyPr/>
        <a:lstStyle/>
        <a:p>
          <a:endParaRPr lang="en-CA"/>
        </a:p>
      </dgm:t>
    </dgm:pt>
    <dgm:pt modelId="{15A41638-BF56-8C42-B4D5-62E753CF1AFC}" type="sibTrans" cxnId="{FAEE8D02-F38C-8843-9CE0-F19561AF8DEE}">
      <dgm:prSet/>
      <dgm:spPr/>
      <dgm:t>
        <a:bodyPr/>
        <a:lstStyle/>
        <a:p>
          <a:endParaRPr lang="en-CA"/>
        </a:p>
      </dgm:t>
    </dgm:pt>
    <dgm:pt modelId="{E15282A0-97C8-214B-8F13-5C3D9F494625}">
      <dgm:prSet/>
      <dgm:spPr/>
      <dgm:t>
        <a:bodyPr/>
        <a:lstStyle/>
        <a:p>
          <a:pPr rtl="0"/>
          <a:r>
            <a:rPr lang="en-CA" dirty="0"/>
            <a:t>tuition</a:t>
          </a:r>
        </a:p>
      </dgm:t>
    </dgm:pt>
    <dgm:pt modelId="{BA02AD92-5D10-1A42-9AE6-EC337DB75B02}" type="parTrans" cxnId="{F5120F8F-DB12-224A-9619-18E7931B4453}">
      <dgm:prSet/>
      <dgm:spPr/>
      <dgm:t>
        <a:bodyPr/>
        <a:lstStyle/>
        <a:p>
          <a:endParaRPr lang="en-CA"/>
        </a:p>
      </dgm:t>
    </dgm:pt>
    <dgm:pt modelId="{B5EB1C69-2E79-4D4F-8BAE-137DF3E41A38}" type="sibTrans" cxnId="{F5120F8F-DB12-224A-9619-18E7931B4453}">
      <dgm:prSet/>
      <dgm:spPr/>
      <dgm:t>
        <a:bodyPr/>
        <a:lstStyle/>
        <a:p>
          <a:endParaRPr lang="en-CA"/>
        </a:p>
      </dgm:t>
    </dgm:pt>
    <dgm:pt modelId="{DB700AED-C264-524C-A443-6D5966C93231}" type="pres">
      <dgm:prSet presAssocID="{02BA0D8E-884F-D545-BFF7-95207C181DAB}" presName="vert0" presStyleCnt="0">
        <dgm:presLayoutVars>
          <dgm:dir/>
          <dgm:animOne val="branch"/>
          <dgm:animLvl val="lvl"/>
        </dgm:presLayoutVars>
      </dgm:prSet>
      <dgm:spPr/>
    </dgm:pt>
    <dgm:pt modelId="{0A351AAF-E7B0-4D40-909F-BFC2BE4466CE}" type="pres">
      <dgm:prSet presAssocID="{CF0461F7-EC97-BB41-A574-9C1E3009EACC}" presName="thickLine" presStyleLbl="alignNode1" presStyleIdx="0" presStyleCnt="3"/>
      <dgm:spPr/>
    </dgm:pt>
    <dgm:pt modelId="{9F29C6A1-5480-D840-BF86-0AD6F1249A7E}" type="pres">
      <dgm:prSet presAssocID="{CF0461F7-EC97-BB41-A574-9C1E3009EACC}" presName="horz1" presStyleCnt="0"/>
      <dgm:spPr/>
    </dgm:pt>
    <dgm:pt modelId="{B029329B-EF65-6C45-B952-1F03AA0B5F57}" type="pres">
      <dgm:prSet presAssocID="{CF0461F7-EC97-BB41-A574-9C1E3009EACC}" presName="tx1" presStyleLbl="revTx" presStyleIdx="0" presStyleCnt="3"/>
      <dgm:spPr/>
    </dgm:pt>
    <dgm:pt modelId="{EE3C77BF-684E-E64B-A534-D07F928661E1}" type="pres">
      <dgm:prSet presAssocID="{CF0461F7-EC97-BB41-A574-9C1E3009EACC}" presName="vert1" presStyleCnt="0"/>
      <dgm:spPr/>
    </dgm:pt>
    <dgm:pt modelId="{F7D68B2A-AA4D-574F-8AC8-F77A93B34013}" type="pres">
      <dgm:prSet presAssocID="{19046CE4-597F-CD4A-AB52-A3C5E2A15403}" presName="thickLine" presStyleLbl="alignNode1" presStyleIdx="1" presStyleCnt="3"/>
      <dgm:spPr/>
    </dgm:pt>
    <dgm:pt modelId="{C87B694E-8AE6-6D42-BC17-EBB93E4A067D}" type="pres">
      <dgm:prSet presAssocID="{19046CE4-597F-CD4A-AB52-A3C5E2A15403}" presName="horz1" presStyleCnt="0"/>
      <dgm:spPr/>
    </dgm:pt>
    <dgm:pt modelId="{B4724289-93A2-9442-98B4-3069A30A6E87}" type="pres">
      <dgm:prSet presAssocID="{19046CE4-597F-CD4A-AB52-A3C5E2A15403}" presName="tx1" presStyleLbl="revTx" presStyleIdx="1" presStyleCnt="3"/>
      <dgm:spPr/>
    </dgm:pt>
    <dgm:pt modelId="{0B0B46E9-4661-8248-B860-13404FD1F15B}" type="pres">
      <dgm:prSet presAssocID="{19046CE4-597F-CD4A-AB52-A3C5E2A15403}" presName="vert1" presStyleCnt="0"/>
      <dgm:spPr/>
    </dgm:pt>
    <dgm:pt modelId="{33682EC2-2B94-D64B-864F-DC87DD5FE375}" type="pres">
      <dgm:prSet presAssocID="{E15282A0-97C8-214B-8F13-5C3D9F494625}" presName="thickLine" presStyleLbl="alignNode1" presStyleIdx="2" presStyleCnt="3"/>
      <dgm:spPr/>
    </dgm:pt>
    <dgm:pt modelId="{E1D17E90-B7CF-CD41-8398-F905B0C39190}" type="pres">
      <dgm:prSet presAssocID="{E15282A0-97C8-214B-8F13-5C3D9F494625}" presName="horz1" presStyleCnt="0"/>
      <dgm:spPr/>
    </dgm:pt>
    <dgm:pt modelId="{61F5ED1C-6EE3-2F49-A1CB-622645A6CE97}" type="pres">
      <dgm:prSet presAssocID="{E15282A0-97C8-214B-8F13-5C3D9F494625}" presName="tx1" presStyleLbl="revTx" presStyleIdx="2" presStyleCnt="3"/>
      <dgm:spPr/>
    </dgm:pt>
    <dgm:pt modelId="{F703FC9B-CE31-2546-B238-CA113A258C95}" type="pres">
      <dgm:prSet presAssocID="{E15282A0-97C8-214B-8F13-5C3D9F494625}" presName="vert1" presStyleCnt="0"/>
      <dgm:spPr/>
    </dgm:pt>
  </dgm:ptLst>
  <dgm:cxnLst>
    <dgm:cxn modelId="{FAEE8D02-F38C-8843-9CE0-F19561AF8DEE}" srcId="{02BA0D8E-884F-D545-BFF7-95207C181DAB}" destId="{19046CE4-597F-CD4A-AB52-A3C5E2A15403}" srcOrd="1" destOrd="0" parTransId="{3A450626-6637-D743-866A-CB3454228EF0}" sibTransId="{15A41638-BF56-8C42-B4D5-62E753CF1AFC}"/>
    <dgm:cxn modelId="{92949311-C3F7-8A4C-BA3E-C068AE053E2D}" type="presOf" srcId="{19046CE4-597F-CD4A-AB52-A3C5E2A15403}" destId="{B4724289-93A2-9442-98B4-3069A30A6E87}" srcOrd="0" destOrd="0" presId="urn:microsoft.com/office/officeart/2008/layout/LinedList"/>
    <dgm:cxn modelId="{A9756C16-8E5F-904D-B636-6797CC66A498}" type="presOf" srcId="{02BA0D8E-884F-D545-BFF7-95207C181DAB}" destId="{DB700AED-C264-524C-A443-6D5966C93231}" srcOrd="0" destOrd="0" presId="urn:microsoft.com/office/officeart/2008/layout/LinedList"/>
    <dgm:cxn modelId="{674D6C8A-30E6-564D-9142-120BB4D947A9}" srcId="{02BA0D8E-884F-D545-BFF7-95207C181DAB}" destId="{CF0461F7-EC97-BB41-A574-9C1E3009EACC}" srcOrd="0" destOrd="0" parTransId="{B2C709E6-0566-4D4E-97EA-2EBE699D701F}" sibTransId="{ABC1C475-5434-1B41-BC48-ADC728C8CBF7}"/>
    <dgm:cxn modelId="{F5120F8F-DB12-224A-9619-18E7931B4453}" srcId="{02BA0D8E-884F-D545-BFF7-95207C181DAB}" destId="{E15282A0-97C8-214B-8F13-5C3D9F494625}" srcOrd="2" destOrd="0" parTransId="{BA02AD92-5D10-1A42-9AE6-EC337DB75B02}" sibTransId="{B5EB1C69-2E79-4D4F-8BAE-137DF3E41A38}"/>
    <dgm:cxn modelId="{A2B05DF0-9CF3-124E-A5F2-E8D2A91139BC}" type="presOf" srcId="{CF0461F7-EC97-BB41-A574-9C1E3009EACC}" destId="{B029329B-EF65-6C45-B952-1F03AA0B5F57}" srcOrd="0" destOrd="0" presId="urn:microsoft.com/office/officeart/2008/layout/LinedList"/>
    <dgm:cxn modelId="{96A44AF8-1E66-4C4A-A06B-D0FF2B9A46BB}" type="presOf" srcId="{E15282A0-97C8-214B-8F13-5C3D9F494625}" destId="{61F5ED1C-6EE3-2F49-A1CB-622645A6CE97}" srcOrd="0" destOrd="0" presId="urn:microsoft.com/office/officeart/2008/layout/LinedList"/>
    <dgm:cxn modelId="{DAC12F52-2C27-0C4B-BA7C-6127D1F71D03}" type="presParOf" srcId="{DB700AED-C264-524C-A443-6D5966C93231}" destId="{0A351AAF-E7B0-4D40-909F-BFC2BE4466CE}" srcOrd="0" destOrd="0" presId="urn:microsoft.com/office/officeart/2008/layout/LinedList"/>
    <dgm:cxn modelId="{19881A83-08AB-D94B-B278-73D940F22E1B}" type="presParOf" srcId="{DB700AED-C264-524C-A443-6D5966C93231}" destId="{9F29C6A1-5480-D840-BF86-0AD6F1249A7E}" srcOrd="1" destOrd="0" presId="urn:microsoft.com/office/officeart/2008/layout/LinedList"/>
    <dgm:cxn modelId="{6929EE74-BFF6-804A-BF4F-4E5428D8F257}" type="presParOf" srcId="{9F29C6A1-5480-D840-BF86-0AD6F1249A7E}" destId="{B029329B-EF65-6C45-B952-1F03AA0B5F57}" srcOrd="0" destOrd="0" presId="urn:microsoft.com/office/officeart/2008/layout/LinedList"/>
    <dgm:cxn modelId="{3EE44081-F4B4-964E-BE43-1DC8401A6B20}" type="presParOf" srcId="{9F29C6A1-5480-D840-BF86-0AD6F1249A7E}" destId="{EE3C77BF-684E-E64B-A534-D07F928661E1}" srcOrd="1" destOrd="0" presId="urn:microsoft.com/office/officeart/2008/layout/LinedList"/>
    <dgm:cxn modelId="{CDF3E3E1-57F3-FB46-802F-C83373756446}" type="presParOf" srcId="{DB700AED-C264-524C-A443-6D5966C93231}" destId="{F7D68B2A-AA4D-574F-8AC8-F77A93B34013}" srcOrd="2" destOrd="0" presId="urn:microsoft.com/office/officeart/2008/layout/LinedList"/>
    <dgm:cxn modelId="{4AC0E5EE-43F0-B748-8F8F-901E139E25AD}" type="presParOf" srcId="{DB700AED-C264-524C-A443-6D5966C93231}" destId="{C87B694E-8AE6-6D42-BC17-EBB93E4A067D}" srcOrd="3" destOrd="0" presId="urn:microsoft.com/office/officeart/2008/layout/LinedList"/>
    <dgm:cxn modelId="{824A3BE6-0F69-9444-98BC-0153EEA71B60}" type="presParOf" srcId="{C87B694E-8AE6-6D42-BC17-EBB93E4A067D}" destId="{B4724289-93A2-9442-98B4-3069A30A6E87}" srcOrd="0" destOrd="0" presId="urn:microsoft.com/office/officeart/2008/layout/LinedList"/>
    <dgm:cxn modelId="{2416EAC9-84D2-BA43-9640-C2277F8C0C48}" type="presParOf" srcId="{C87B694E-8AE6-6D42-BC17-EBB93E4A067D}" destId="{0B0B46E9-4661-8248-B860-13404FD1F15B}" srcOrd="1" destOrd="0" presId="urn:microsoft.com/office/officeart/2008/layout/LinedList"/>
    <dgm:cxn modelId="{9E00E943-3D11-764D-AB0F-3C1328177850}" type="presParOf" srcId="{DB700AED-C264-524C-A443-6D5966C93231}" destId="{33682EC2-2B94-D64B-864F-DC87DD5FE375}" srcOrd="4" destOrd="0" presId="urn:microsoft.com/office/officeart/2008/layout/LinedList"/>
    <dgm:cxn modelId="{381B13A4-47DA-D04F-B429-FE81FAF0077A}" type="presParOf" srcId="{DB700AED-C264-524C-A443-6D5966C93231}" destId="{E1D17E90-B7CF-CD41-8398-F905B0C39190}" srcOrd="5" destOrd="0" presId="urn:microsoft.com/office/officeart/2008/layout/LinedList"/>
    <dgm:cxn modelId="{80AF0E6F-7B2B-3746-8FC4-7C0A6D084A37}" type="presParOf" srcId="{E1D17E90-B7CF-CD41-8398-F905B0C39190}" destId="{61F5ED1C-6EE3-2F49-A1CB-622645A6CE97}" srcOrd="0" destOrd="0" presId="urn:microsoft.com/office/officeart/2008/layout/LinedList"/>
    <dgm:cxn modelId="{25625BF8-0F0A-EA4E-A8CC-94D4E7CF3921}" type="presParOf" srcId="{E1D17E90-B7CF-CD41-8398-F905B0C39190}" destId="{F703FC9B-CE31-2546-B238-CA113A258C95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4F371D9-EE28-43D3-A86D-541CB7E51DB8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2945230-8A03-49C4-AE11-508590DB7B8B}">
      <dgm:prSet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Page 8</a:t>
          </a:r>
        </a:p>
      </dgm:t>
    </dgm:pt>
    <dgm:pt modelId="{FC8924DD-BCE3-491E-AC57-3330F43EE0F3}" type="parTrans" cxnId="{5CB88DD1-22D4-42B5-A4FE-416A16A7EE1C}">
      <dgm:prSet/>
      <dgm:spPr/>
      <dgm:t>
        <a:bodyPr/>
        <a:lstStyle/>
        <a:p>
          <a:endParaRPr lang="en-US"/>
        </a:p>
      </dgm:t>
    </dgm:pt>
    <dgm:pt modelId="{0CE224DD-430C-4167-8C66-F0356FD49815}" type="sibTrans" cxnId="{5CB88DD1-22D4-42B5-A4FE-416A16A7EE1C}">
      <dgm:prSet/>
      <dgm:spPr/>
      <dgm:t>
        <a:bodyPr/>
        <a:lstStyle/>
        <a:p>
          <a:endParaRPr lang="en-US"/>
        </a:p>
      </dgm:t>
    </dgm:pt>
    <dgm:pt modelId="{834CDD0F-2A72-40E4-9F5C-254C6DC50A0F}" type="pres">
      <dgm:prSet presAssocID="{44F371D9-EE28-43D3-A86D-541CB7E51DB8}" presName="compositeShape" presStyleCnt="0">
        <dgm:presLayoutVars>
          <dgm:chMax val="7"/>
          <dgm:dir/>
          <dgm:resizeHandles val="exact"/>
        </dgm:presLayoutVars>
      </dgm:prSet>
      <dgm:spPr/>
    </dgm:pt>
    <dgm:pt modelId="{DDF5C611-4A57-4D32-BF4D-AD972F42154B}" type="pres">
      <dgm:prSet presAssocID="{C2945230-8A03-49C4-AE11-508590DB7B8B}" presName="circ1TxSh" presStyleLbl="vennNode1" presStyleIdx="0" presStyleCnt="1"/>
      <dgm:spPr/>
    </dgm:pt>
  </dgm:ptLst>
  <dgm:cxnLst>
    <dgm:cxn modelId="{7C161C1B-FB01-144E-92A5-6EE10C8D3727}" type="presOf" srcId="{44F371D9-EE28-43D3-A86D-541CB7E51DB8}" destId="{834CDD0F-2A72-40E4-9F5C-254C6DC50A0F}" srcOrd="0" destOrd="0" presId="urn:microsoft.com/office/officeart/2005/8/layout/venn1"/>
    <dgm:cxn modelId="{30F08950-5283-2C4D-A812-4DFBE6A3E15B}" type="presOf" srcId="{C2945230-8A03-49C4-AE11-508590DB7B8B}" destId="{DDF5C611-4A57-4D32-BF4D-AD972F42154B}" srcOrd="0" destOrd="0" presId="urn:microsoft.com/office/officeart/2005/8/layout/venn1"/>
    <dgm:cxn modelId="{5CB88DD1-22D4-42B5-A4FE-416A16A7EE1C}" srcId="{44F371D9-EE28-43D3-A86D-541CB7E51DB8}" destId="{C2945230-8A03-49C4-AE11-508590DB7B8B}" srcOrd="0" destOrd="0" parTransId="{FC8924DD-BCE3-491E-AC57-3330F43EE0F3}" sibTransId="{0CE224DD-430C-4167-8C66-F0356FD49815}"/>
    <dgm:cxn modelId="{08373333-1DB1-9043-A37B-DC1218A87BED}" type="presParOf" srcId="{834CDD0F-2A72-40E4-9F5C-254C6DC50A0F}" destId="{DDF5C611-4A57-4D32-BF4D-AD972F42154B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2BA0D8E-884F-D545-BFF7-95207C181DAB}" type="doc">
      <dgm:prSet loTypeId="urn:microsoft.com/office/officeart/2008/layout/LinedLis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CF0461F7-EC97-BB41-A574-9C1E3009EACC}">
      <dgm:prSet/>
      <dgm:spPr/>
      <dgm:t>
        <a:bodyPr/>
        <a:lstStyle/>
        <a:p>
          <a:pPr rtl="0"/>
          <a:r>
            <a:rPr lang="en-CA" dirty="0"/>
            <a:t>optimizing</a:t>
          </a:r>
        </a:p>
      </dgm:t>
    </dgm:pt>
    <dgm:pt modelId="{B2C709E6-0566-4D4E-97EA-2EBE699D701F}" type="parTrans" cxnId="{674D6C8A-30E6-564D-9142-120BB4D947A9}">
      <dgm:prSet/>
      <dgm:spPr/>
      <dgm:t>
        <a:bodyPr/>
        <a:lstStyle/>
        <a:p>
          <a:endParaRPr lang="en-CA"/>
        </a:p>
      </dgm:t>
    </dgm:pt>
    <dgm:pt modelId="{ABC1C475-5434-1B41-BC48-ADC728C8CBF7}" type="sibTrans" cxnId="{674D6C8A-30E6-564D-9142-120BB4D947A9}">
      <dgm:prSet/>
      <dgm:spPr/>
      <dgm:t>
        <a:bodyPr/>
        <a:lstStyle/>
        <a:p>
          <a:endParaRPr lang="en-CA"/>
        </a:p>
      </dgm:t>
    </dgm:pt>
    <dgm:pt modelId="{19046CE4-597F-CD4A-AB52-A3C5E2A15403}">
      <dgm:prSet/>
      <dgm:spPr/>
      <dgm:t>
        <a:bodyPr/>
        <a:lstStyle/>
        <a:p>
          <a:pPr rtl="0"/>
          <a:r>
            <a:rPr lang="en-CA" dirty="0"/>
            <a:t>pension splitting</a:t>
          </a:r>
        </a:p>
      </dgm:t>
    </dgm:pt>
    <dgm:pt modelId="{3A450626-6637-D743-866A-CB3454228EF0}" type="parTrans" cxnId="{FAEE8D02-F38C-8843-9CE0-F19561AF8DEE}">
      <dgm:prSet/>
      <dgm:spPr/>
      <dgm:t>
        <a:bodyPr/>
        <a:lstStyle/>
        <a:p>
          <a:endParaRPr lang="en-CA"/>
        </a:p>
      </dgm:t>
    </dgm:pt>
    <dgm:pt modelId="{15A41638-BF56-8C42-B4D5-62E753CF1AFC}" type="sibTrans" cxnId="{FAEE8D02-F38C-8843-9CE0-F19561AF8DEE}">
      <dgm:prSet/>
      <dgm:spPr/>
      <dgm:t>
        <a:bodyPr/>
        <a:lstStyle/>
        <a:p>
          <a:endParaRPr lang="en-CA"/>
        </a:p>
      </dgm:t>
    </dgm:pt>
    <dgm:pt modelId="{FB544714-B2D6-F845-9F60-85446E2DDB03}" type="pres">
      <dgm:prSet presAssocID="{02BA0D8E-884F-D545-BFF7-95207C181DAB}" presName="vert0" presStyleCnt="0">
        <dgm:presLayoutVars>
          <dgm:dir/>
          <dgm:animOne val="branch"/>
          <dgm:animLvl val="lvl"/>
        </dgm:presLayoutVars>
      </dgm:prSet>
      <dgm:spPr/>
    </dgm:pt>
    <dgm:pt modelId="{B69784E5-F0EC-FA4E-B21A-EE1FA2A4637B}" type="pres">
      <dgm:prSet presAssocID="{CF0461F7-EC97-BB41-A574-9C1E3009EACC}" presName="thickLine" presStyleLbl="alignNode1" presStyleIdx="0" presStyleCnt="2"/>
      <dgm:spPr/>
    </dgm:pt>
    <dgm:pt modelId="{153658C0-B682-3047-89BC-D9E016BF0FF7}" type="pres">
      <dgm:prSet presAssocID="{CF0461F7-EC97-BB41-A574-9C1E3009EACC}" presName="horz1" presStyleCnt="0"/>
      <dgm:spPr/>
    </dgm:pt>
    <dgm:pt modelId="{57E4EA77-3B79-BD4F-B90D-B010A5467407}" type="pres">
      <dgm:prSet presAssocID="{CF0461F7-EC97-BB41-A574-9C1E3009EACC}" presName="tx1" presStyleLbl="revTx" presStyleIdx="0" presStyleCnt="2"/>
      <dgm:spPr/>
    </dgm:pt>
    <dgm:pt modelId="{55441A15-010C-3549-9D3C-277E3924E1E2}" type="pres">
      <dgm:prSet presAssocID="{CF0461F7-EC97-BB41-A574-9C1E3009EACC}" presName="vert1" presStyleCnt="0"/>
      <dgm:spPr/>
    </dgm:pt>
    <dgm:pt modelId="{DAC44777-664D-614E-9A65-A042CA0261CB}" type="pres">
      <dgm:prSet presAssocID="{19046CE4-597F-CD4A-AB52-A3C5E2A15403}" presName="thickLine" presStyleLbl="alignNode1" presStyleIdx="1" presStyleCnt="2"/>
      <dgm:spPr/>
    </dgm:pt>
    <dgm:pt modelId="{6BF7EB14-3024-AC44-833F-44AD6060B281}" type="pres">
      <dgm:prSet presAssocID="{19046CE4-597F-CD4A-AB52-A3C5E2A15403}" presName="horz1" presStyleCnt="0"/>
      <dgm:spPr/>
    </dgm:pt>
    <dgm:pt modelId="{02BC410B-1409-434B-BE0B-4CDF4DC068BD}" type="pres">
      <dgm:prSet presAssocID="{19046CE4-597F-CD4A-AB52-A3C5E2A15403}" presName="tx1" presStyleLbl="revTx" presStyleIdx="1" presStyleCnt="2"/>
      <dgm:spPr/>
    </dgm:pt>
    <dgm:pt modelId="{A6F5C530-7163-1D44-B9DC-ECFC623D0FA0}" type="pres">
      <dgm:prSet presAssocID="{19046CE4-597F-CD4A-AB52-A3C5E2A15403}" presName="vert1" presStyleCnt="0"/>
      <dgm:spPr/>
    </dgm:pt>
  </dgm:ptLst>
  <dgm:cxnLst>
    <dgm:cxn modelId="{FAEE8D02-F38C-8843-9CE0-F19561AF8DEE}" srcId="{02BA0D8E-884F-D545-BFF7-95207C181DAB}" destId="{19046CE4-597F-CD4A-AB52-A3C5E2A15403}" srcOrd="1" destOrd="0" parTransId="{3A450626-6637-D743-866A-CB3454228EF0}" sibTransId="{15A41638-BF56-8C42-B4D5-62E753CF1AFC}"/>
    <dgm:cxn modelId="{2F038367-3C63-AC48-AC24-83F2C3CC4ADF}" type="presOf" srcId="{02BA0D8E-884F-D545-BFF7-95207C181DAB}" destId="{FB544714-B2D6-F845-9F60-85446E2DDB03}" srcOrd="0" destOrd="0" presId="urn:microsoft.com/office/officeart/2008/layout/LinedList"/>
    <dgm:cxn modelId="{25261083-50AA-4746-8084-BB8E95EDD3F4}" type="presOf" srcId="{19046CE4-597F-CD4A-AB52-A3C5E2A15403}" destId="{02BC410B-1409-434B-BE0B-4CDF4DC068BD}" srcOrd="0" destOrd="0" presId="urn:microsoft.com/office/officeart/2008/layout/LinedList"/>
    <dgm:cxn modelId="{674D6C8A-30E6-564D-9142-120BB4D947A9}" srcId="{02BA0D8E-884F-D545-BFF7-95207C181DAB}" destId="{CF0461F7-EC97-BB41-A574-9C1E3009EACC}" srcOrd="0" destOrd="0" parTransId="{B2C709E6-0566-4D4E-97EA-2EBE699D701F}" sibTransId="{ABC1C475-5434-1B41-BC48-ADC728C8CBF7}"/>
    <dgm:cxn modelId="{7206C5AF-0E77-334E-9621-40227FD5853C}" type="presOf" srcId="{CF0461F7-EC97-BB41-A574-9C1E3009EACC}" destId="{57E4EA77-3B79-BD4F-B90D-B010A5467407}" srcOrd="0" destOrd="0" presId="urn:microsoft.com/office/officeart/2008/layout/LinedList"/>
    <dgm:cxn modelId="{F2AD5495-AF9D-5D42-8D91-3E9038F0D07D}" type="presParOf" srcId="{FB544714-B2D6-F845-9F60-85446E2DDB03}" destId="{B69784E5-F0EC-FA4E-B21A-EE1FA2A4637B}" srcOrd="0" destOrd="0" presId="urn:microsoft.com/office/officeart/2008/layout/LinedList"/>
    <dgm:cxn modelId="{62C3BDD6-2952-AF40-8210-7286E0D3A7A0}" type="presParOf" srcId="{FB544714-B2D6-F845-9F60-85446E2DDB03}" destId="{153658C0-B682-3047-89BC-D9E016BF0FF7}" srcOrd="1" destOrd="0" presId="urn:microsoft.com/office/officeart/2008/layout/LinedList"/>
    <dgm:cxn modelId="{003344A1-E078-F049-9763-FB53860B84DB}" type="presParOf" srcId="{153658C0-B682-3047-89BC-D9E016BF0FF7}" destId="{57E4EA77-3B79-BD4F-B90D-B010A5467407}" srcOrd="0" destOrd="0" presId="urn:microsoft.com/office/officeart/2008/layout/LinedList"/>
    <dgm:cxn modelId="{5CB16078-8550-6943-94BB-72CFEB70D656}" type="presParOf" srcId="{153658C0-B682-3047-89BC-D9E016BF0FF7}" destId="{55441A15-010C-3549-9D3C-277E3924E1E2}" srcOrd="1" destOrd="0" presId="urn:microsoft.com/office/officeart/2008/layout/LinedList"/>
    <dgm:cxn modelId="{E69F6399-7368-F243-A314-60686C6DDE11}" type="presParOf" srcId="{FB544714-B2D6-F845-9F60-85446E2DDB03}" destId="{DAC44777-664D-614E-9A65-A042CA0261CB}" srcOrd="2" destOrd="0" presId="urn:microsoft.com/office/officeart/2008/layout/LinedList"/>
    <dgm:cxn modelId="{D0BC1DD6-EA98-104A-8432-E952AF4C01B2}" type="presParOf" srcId="{FB544714-B2D6-F845-9F60-85446E2DDB03}" destId="{6BF7EB14-3024-AC44-833F-44AD6060B281}" srcOrd="3" destOrd="0" presId="urn:microsoft.com/office/officeart/2008/layout/LinedList"/>
    <dgm:cxn modelId="{A113D8C9-021F-964B-8FF5-174054B0D0CC}" type="presParOf" srcId="{6BF7EB14-3024-AC44-833F-44AD6060B281}" destId="{02BC410B-1409-434B-BE0B-4CDF4DC068BD}" srcOrd="0" destOrd="0" presId="urn:microsoft.com/office/officeart/2008/layout/LinedList"/>
    <dgm:cxn modelId="{CF47E3AA-E4D0-E44C-B1C7-FC582E2EFC8B}" type="presParOf" srcId="{6BF7EB14-3024-AC44-833F-44AD6060B281}" destId="{A6F5C530-7163-1D44-B9DC-ECFC623D0FA0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4F371D9-EE28-43D3-A86D-541CB7E51DB8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2945230-8A03-49C4-AE11-508590DB7B8B}">
      <dgm:prSet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Page 11</a:t>
          </a:r>
        </a:p>
      </dgm:t>
    </dgm:pt>
    <dgm:pt modelId="{FC8924DD-BCE3-491E-AC57-3330F43EE0F3}" type="parTrans" cxnId="{5CB88DD1-22D4-42B5-A4FE-416A16A7EE1C}">
      <dgm:prSet/>
      <dgm:spPr/>
      <dgm:t>
        <a:bodyPr/>
        <a:lstStyle/>
        <a:p>
          <a:endParaRPr lang="en-US"/>
        </a:p>
      </dgm:t>
    </dgm:pt>
    <dgm:pt modelId="{0CE224DD-430C-4167-8C66-F0356FD49815}" type="sibTrans" cxnId="{5CB88DD1-22D4-42B5-A4FE-416A16A7EE1C}">
      <dgm:prSet/>
      <dgm:spPr/>
      <dgm:t>
        <a:bodyPr/>
        <a:lstStyle/>
        <a:p>
          <a:endParaRPr lang="en-US"/>
        </a:p>
      </dgm:t>
    </dgm:pt>
    <dgm:pt modelId="{834CDD0F-2A72-40E4-9F5C-254C6DC50A0F}" type="pres">
      <dgm:prSet presAssocID="{44F371D9-EE28-43D3-A86D-541CB7E51DB8}" presName="compositeShape" presStyleCnt="0">
        <dgm:presLayoutVars>
          <dgm:chMax val="7"/>
          <dgm:dir/>
          <dgm:resizeHandles val="exact"/>
        </dgm:presLayoutVars>
      </dgm:prSet>
      <dgm:spPr/>
    </dgm:pt>
    <dgm:pt modelId="{DDF5C611-4A57-4D32-BF4D-AD972F42154B}" type="pres">
      <dgm:prSet presAssocID="{C2945230-8A03-49C4-AE11-508590DB7B8B}" presName="circ1TxSh" presStyleLbl="vennNode1" presStyleIdx="0" presStyleCnt="1"/>
      <dgm:spPr/>
    </dgm:pt>
  </dgm:ptLst>
  <dgm:cxnLst>
    <dgm:cxn modelId="{005AD081-022A-7B4C-A8DF-09B10780DD53}" type="presOf" srcId="{C2945230-8A03-49C4-AE11-508590DB7B8B}" destId="{DDF5C611-4A57-4D32-BF4D-AD972F42154B}" srcOrd="0" destOrd="0" presId="urn:microsoft.com/office/officeart/2005/8/layout/venn1"/>
    <dgm:cxn modelId="{3C717BB2-C469-9C41-9235-DB942E00DBB7}" type="presOf" srcId="{44F371D9-EE28-43D3-A86D-541CB7E51DB8}" destId="{834CDD0F-2A72-40E4-9F5C-254C6DC50A0F}" srcOrd="0" destOrd="0" presId="urn:microsoft.com/office/officeart/2005/8/layout/venn1"/>
    <dgm:cxn modelId="{5CB88DD1-22D4-42B5-A4FE-416A16A7EE1C}" srcId="{44F371D9-EE28-43D3-A86D-541CB7E51DB8}" destId="{C2945230-8A03-49C4-AE11-508590DB7B8B}" srcOrd="0" destOrd="0" parTransId="{FC8924DD-BCE3-491E-AC57-3330F43EE0F3}" sibTransId="{0CE224DD-430C-4167-8C66-F0356FD49815}"/>
    <dgm:cxn modelId="{4EEF883C-A205-2F4C-AE20-7A0966FAFFDF}" type="presParOf" srcId="{834CDD0F-2A72-40E4-9F5C-254C6DC50A0F}" destId="{DDF5C611-4A57-4D32-BF4D-AD972F42154B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DEDEA1E-A791-ED43-B8F7-042878B392C2}" type="doc">
      <dgm:prSet loTypeId="urn:microsoft.com/office/officeart/2008/layout/LinedLis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BAFF057-DFF4-9240-90C3-99C3358A915C}">
      <dgm:prSet/>
      <dgm:spPr/>
      <dgm:t>
        <a:bodyPr/>
        <a:lstStyle/>
        <a:p>
          <a:pPr rtl="0"/>
          <a:r>
            <a:rPr lang="en-US" dirty="0"/>
            <a:t>P&amp;L -</a:t>
          </a:r>
          <a:r>
            <a:rPr lang="en-CA" dirty="0"/>
            <a:t> T2125</a:t>
          </a:r>
          <a:endParaRPr lang="en-US" dirty="0"/>
        </a:p>
      </dgm:t>
    </dgm:pt>
    <dgm:pt modelId="{16A61E8D-4669-804D-8DD2-EB890EAE0E39}" type="parTrans" cxnId="{829A2295-0A35-4D48-8E05-9AC7F5975828}">
      <dgm:prSet/>
      <dgm:spPr/>
      <dgm:t>
        <a:bodyPr/>
        <a:lstStyle/>
        <a:p>
          <a:endParaRPr lang="en-US"/>
        </a:p>
      </dgm:t>
    </dgm:pt>
    <dgm:pt modelId="{49A8A604-CDA3-A847-B394-C2992D2238DF}" type="sibTrans" cxnId="{829A2295-0A35-4D48-8E05-9AC7F5975828}">
      <dgm:prSet/>
      <dgm:spPr/>
      <dgm:t>
        <a:bodyPr/>
        <a:lstStyle/>
        <a:p>
          <a:endParaRPr lang="en-US"/>
        </a:p>
      </dgm:t>
    </dgm:pt>
    <dgm:pt modelId="{09677A40-7047-624F-997B-88EB161DF8D4}">
      <dgm:prSet/>
      <dgm:spPr/>
      <dgm:t>
        <a:bodyPr/>
        <a:lstStyle/>
        <a:p>
          <a:pPr rtl="0"/>
          <a:r>
            <a:rPr lang="en-US" dirty="0"/>
            <a:t>vehicle</a:t>
          </a:r>
        </a:p>
      </dgm:t>
    </dgm:pt>
    <dgm:pt modelId="{5FDDB3F7-675B-DE42-A68C-A8E95AA50004}" type="parTrans" cxnId="{5D003ECB-53FC-EC45-9576-9D664FBAF4B1}">
      <dgm:prSet/>
      <dgm:spPr/>
      <dgm:t>
        <a:bodyPr/>
        <a:lstStyle/>
        <a:p>
          <a:endParaRPr lang="en-US"/>
        </a:p>
      </dgm:t>
    </dgm:pt>
    <dgm:pt modelId="{F51C938F-CDF1-ED42-A2EF-960CC13EF03B}" type="sibTrans" cxnId="{5D003ECB-53FC-EC45-9576-9D664FBAF4B1}">
      <dgm:prSet/>
      <dgm:spPr/>
      <dgm:t>
        <a:bodyPr/>
        <a:lstStyle/>
        <a:p>
          <a:endParaRPr lang="en-US"/>
        </a:p>
      </dgm:t>
    </dgm:pt>
    <dgm:pt modelId="{B22DBAC5-31D0-C244-B9BC-FF5CAE5451EA}">
      <dgm:prSet/>
      <dgm:spPr/>
      <dgm:t>
        <a:bodyPr/>
        <a:lstStyle/>
        <a:p>
          <a:pPr rtl="0"/>
          <a:r>
            <a:rPr lang="en-US" dirty="0"/>
            <a:t>home office</a:t>
          </a:r>
        </a:p>
      </dgm:t>
    </dgm:pt>
    <dgm:pt modelId="{C8C73D3A-6F27-CF45-A5E7-9F554AC30604}" type="parTrans" cxnId="{8A4A6B00-0BBA-124A-9B25-008FFB473D9B}">
      <dgm:prSet/>
      <dgm:spPr/>
      <dgm:t>
        <a:bodyPr/>
        <a:lstStyle/>
        <a:p>
          <a:endParaRPr lang="en-US"/>
        </a:p>
      </dgm:t>
    </dgm:pt>
    <dgm:pt modelId="{215F2700-3CDE-6E43-BBA6-5A5AEC713524}" type="sibTrans" cxnId="{8A4A6B00-0BBA-124A-9B25-008FFB473D9B}">
      <dgm:prSet/>
      <dgm:spPr/>
      <dgm:t>
        <a:bodyPr/>
        <a:lstStyle/>
        <a:p>
          <a:endParaRPr lang="en-US"/>
        </a:p>
      </dgm:t>
    </dgm:pt>
    <dgm:pt modelId="{F72BAF92-FC30-1346-9FB8-F047071307D1}" type="pres">
      <dgm:prSet presAssocID="{6DEDEA1E-A791-ED43-B8F7-042878B392C2}" presName="vert0" presStyleCnt="0">
        <dgm:presLayoutVars>
          <dgm:dir/>
          <dgm:animOne val="branch"/>
          <dgm:animLvl val="lvl"/>
        </dgm:presLayoutVars>
      </dgm:prSet>
      <dgm:spPr/>
    </dgm:pt>
    <dgm:pt modelId="{B83DCB59-0DFC-CC43-B6AC-5B776270DECA}" type="pres">
      <dgm:prSet presAssocID="{CBAFF057-DFF4-9240-90C3-99C3358A915C}" presName="thickLine" presStyleLbl="alignNode1" presStyleIdx="0" presStyleCnt="3"/>
      <dgm:spPr/>
    </dgm:pt>
    <dgm:pt modelId="{A965AB8F-BF9C-7048-84AE-F975C80A7DA7}" type="pres">
      <dgm:prSet presAssocID="{CBAFF057-DFF4-9240-90C3-99C3358A915C}" presName="horz1" presStyleCnt="0"/>
      <dgm:spPr/>
    </dgm:pt>
    <dgm:pt modelId="{7B8DF244-5318-2145-B903-A40DD2DF8326}" type="pres">
      <dgm:prSet presAssocID="{CBAFF057-DFF4-9240-90C3-99C3358A915C}" presName="tx1" presStyleLbl="revTx" presStyleIdx="0" presStyleCnt="3"/>
      <dgm:spPr/>
    </dgm:pt>
    <dgm:pt modelId="{2697AB58-D5AD-474D-963E-667ACA2DDF52}" type="pres">
      <dgm:prSet presAssocID="{CBAFF057-DFF4-9240-90C3-99C3358A915C}" presName="vert1" presStyleCnt="0"/>
      <dgm:spPr/>
    </dgm:pt>
    <dgm:pt modelId="{935409B5-804D-6D46-9348-F31304C14A6A}" type="pres">
      <dgm:prSet presAssocID="{09677A40-7047-624F-997B-88EB161DF8D4}" presName="thickLine" presStyleLbl="alignNode1" presStyleIdx="1" presStyleCnt="3"/>
      <dgm:spPr/>
    </dgm:pt>
    <dgm:pt modelId="{228BE9BB-D6D5-EB4A-9F3A-9CB5AA8E389C}" type="pres">
      <dgm:prSet presAssocID="{09677A40-7047-624F-997B-88EB161DF8D4}" presName="horz1" presStyleCnt="0"/>
      <dgm:spPr/>
    </dgm:pt>
    <dgm:pt modelId="{9DBB5D98-CEA9-4C41-98E8-56C818698418}" type="pres">
      <dgm:prSet presAssocID="{09677A40-7047-624F-997B-88EB161DF8D4}" presName="tx1" presStyleLbl="revTx" presStyleIdx="1" presStyleCnt="3"/>
      <dgm:spPr/>
    </dgm:pt>
    <dgm:pt modelId="{6C848135-BF13-D944-8C3D-8C155B5506C1}" type="pres">
      <dgm:prSet presAssocID="{09677A40-7047-624F-997B-88EB161DF8D4}" presName="vert1" presStyleCnt="0"/>
      <dgm:spPr/>
    </dgm:pt>
    <dgm:pt modelId="{E17468B5-7BF2-DD45-BFB4-F4D2ECAC12C1}" type="pres">
      <dgm:prSet presAssocID="{B22DBAC5-31D0-C244-B9BC-FF5CAE5451EA}" presName="thickLine" presStyleLbl="alignNode1" presStyleIdx="2" presStyleCnt="3"/>
      <dgm:spPr/>
    </dgm:pt>
    <dgm:pt modelId="{0DD12730-B1DA-9F44-9DD0-5B01B145D3BB}" type="pres">
      <dgm:prSet presAssocID="{B22DBAC5-31D0-C244-B9BC-FF5CAE5451EA}" presName="horz1" presStyleCnt="0"/>
      <dgm:spPr/>
    </dgm:pt>
    <dgm:pt modelId="{BFA939FD-A28D-AA4E-B307-089FBC849DE1}" type="pres">
      <dgm:prSet presAssocID="{B22DBAC5-31D0-C244-B9BC-FF5CAE5451EA}" presName="tx1" presStyleLbl="revTx" presStyleIdx="2" presStyleCnt="3"/>
      <dgm:spPr/>
    </dgm:pt>
    <dgm:pt modelId="{2DDD515D-CE6E-7F4D-9B95-4FBA4A0AEDE6}" type="pres">
      <dgm:prSet presAssocID="{B22DBAC5-31D0-C244-B9BC-FF5CAE5451EA}" presName="vert1" presStyleCnt="0"/>
      <dgm:spPr/>
    </dgm:pt>
  </dgm:ptLst>
  <dgm:cxnLst>
    <dgm:cxn modelId="{8A4A6B00-0BBA-124A-9B25-008FFB473D9B}" srcId="{6DEDEA1E-A791-ED43-B8F7-042878B392C2}" destId="{B22DBAC5-31D0-C244-B9BC-FF5CAE5451EA}" srcOrd="2" destOrd="0" parTransId="{C8C73D3A-6F27-CF45-A5E7-9F554AC30604}" sibTransId="{215F2700-3CDE-6E43-BBA6-5A5AEC713524}"/>
    <dgm:cxn modelId="{C07D580A-78E7-9148-8B68-705E98EBDC16}" type="presOf" srcId="{CBAFF057-DFF4-9240-90C3-99C3358A915C}" destId="{7B8DF244-5318-2145-B903-A40DD2DF8326}" srcOrd="0" destOrd="0" presId="urn:microsoft.com/office/officeart/2008/layout/LinedList"/>
    <dgm:cxn modelId="{25E92280-044E-6D40-BDF9-7749B1667452}" type="presOf" srcId="{B22DBAC5-31D0-C244-B9BC-FF5CAE5451EA}" destId="{BFA939FD-A28D-AA4E-B307-089FBC849DE1}" srcOrd="0" destOrd="0" presId="urn:microsoft.com/office/officeart/2008/layout/LinedList"/>
    <dgm:cxn modelId="{829A2295-0A35-4D48-8E05-9AC7F5975828}" srcId="{6DEDEA1E-A791-ED43-B8F7-042878B392C2}" destId="{CBAFF057-DFF4-9240-90C3-99C3358A915C}" srcOrd="0" destOrd="0" parTransId="{16A61E8D-4669-804D-8DD2-EB890EAE0E39}" sibTransId="{49A8A604-CDA3-A847-B394-C2992D2238DF}"/>
    <dgm:cxn modelId="{B8971EBB-D287-7C4A-A5F4-C87E1F9C0ADB}" type="presOf" srcId="{09677A40-7047-624F-997B-88EB161DF8D4}" destId="{9DBB5D98-CEA9-4C41-98E8-56C818698418}" srcOrd="0" destOrd="0" presId="urn:microsoft.com/office/officeart/2008/layout/LinedList"/>
    <dgm:cxn modelId="{5D003ECB-53FC-EC45-9576-9D664FBAF4B1}" srcId="{6DEDEA1E-A791-ED43-B8F7-042878B392C2}" destId="{09677A40-7047-624F-997B-88EB161DF8D4}" srcOrd="1" destOrd="0" parTransId="{5FDDB3F7-675B-DE42-A68C-A8E95AA50004}" sibTransId="{F51C938F-CDF1-ED42-A2EF-960CC13EF03B}"/>
    <dgm:cxn modelId="{36F59AE1-1F05-704B-8B4B-CDA3292CC1E1}" type="presOf" srcId="{6DEDEA1E-A791-ED43-B8F7-042878B392C2}" destId="{F72BAF92-FC30-1346-9FB8-F047071307D1}" srcOrd="0" destOrd="0" presId="urn:microsoft.com/office/officeart/2008/layout/LinedList"/>
    <dgm:cxn modelId="{70377F88-F786-584D-B9CE-115B828372D4}" type="presParOf" srcId="{F72BAF92-FC30-1346-9FB8-F047071307D1}" destId="{B83DCB59-0DFC-CC43-B6AC-5B776270DECA}" srcOrd="0" destOrd="0" presId="urn:microsoft.com/office/officeart/2008/layout/LinedList"/>
    <dgm:cxn modelId="{89198504-1D15-F444-A901-39FF74E3CAB3}" type="presParOf" srcId="{F72BAF92-FC30-1346-9FB8-F047071307D1}" destId="{A965AB8F-BF9C-7048-84AE-F975C80A7DA7}" srcOrd="1" destOrd="0" presId="urn:microsoft.com/office/officeart/2008/layout/LinedList"/>
    <dgm:cxn modelId="{ED2F7656-18EC-D54F-9CCA-04E87799E339}" type="presParOf" srcId="{A965AB8F-BF9C-7048-84AE-F975C80A7DA7}" destId="{7B8DF244-5318-2145-B903-A40DD2DF8326}" srcOrd="0" destOrd="0" presId="urn:microsoft.com/office/officeart/2008/layout/LinedList"/>
    <dgm:cxn modelId="{EE49E65A-9928-414C-8D46-F81D5379326C}" type="presParOf" srcId="{A965AB8F-BF9C-7048-84AE-F975C80A7DA7}" destId="{2697AB58-D5AD-474D-963E-667ACA2DDF52}" srcOrd="1" destOrd="0" presId="urn:microsoft.com/office/officeart/2008/layout/LinedList"/>
    <dgm:cxn modelId="{7A7F6DF5-11D1-0B4A-B794-314E87A19B66}" type="presParOf" srcId="{F72BAF92-FC30-1346-9FB8-F047071307D1}" destId="{935409B5-804D-6D46-9348-F31304C14A6A}" srcOrd="2" destOrd="0" presId="urn:microsoft.com/office/officeart/2008/layout/LinedList"/>
    <dgm:cxn modelId="{1CF45A72-A3B4-3243-A94E-D54A89DC5D47}" type="presParOf" srcId="{F72BAF92-FC30-1346-9FB8-F047071307D1}" destId="{228BE9BB-D6D5-EB4A-9F3A-9CB5AA8E389C}" srcOrd="3" destOrd="0" presId="urn:microsoft.com/office/officeart/2008/layout/LinedList"/>
    <dgm:cxn modelId="{F0BB72A3-B34E-D443-AD2D-A597F7FF90C2}" type="presParOf" srcId="{228BE9BB-D6D5-EB4A-9F3A-9CB5AA8E389C}" destId="{9DBB5D98-CEA9-4C41-98E8-56C818698418}" srcOrd="0" destOrd="0" presId="urn:microsoft.com/office/officeart/2008/layout/LinedList"/>
    <dgm:cxn modelId="{0D6F4796-E336-AD45-82AB-C27C43213968}" type="presParOf" srcId="{228BE9BB-D6D5-EB4A-9F3A-9CB5AA8E389C}" destId="{6C848135-BF13-D944-8C3D-8C155B5506C1}" srcOrd="1" destOrd="0" presId="urn:microsoft.com/office/officeart/2008/layout/LinedList"/>
    <dgm:cxn modelId="{19DB92C6-01C8-C44E-BF76-086F060170DB}" type="presParOf" srcId="{F72BAF92-FC30-1346-9FB8-F047071307D1}" destId="{E17468B5-7BF2-DD45-BFB4-F4D2ECAC12C1}" srcOrd="4" destOrd="0" presId="urn:microsoft.com/office/officeart/2008/layout/LinedList"/>
    <dgm:cxn modelId="{3CEA9FD7-22C1-F444-9619-447884B34E5D}" type="presParOf" srcId="{F72BAF92-FC30-1346-9FB8-F047071307D1}" destId="{0DD12730-B1DA-9F44-9DD0-5B01B145D3BB}" srcOrd="5" destOrd="0" presId="urn:microsoft.com/office/officeart/2008/layout/LinedList"/>
    <dgm:cxn modelId="{DA2F9211-9463-0748-A334-07370BC6C4EF}" type="presParOf" srcId="{0DD12730-B1DA-9F44-9DD0-5B01B145D3BB}" destId="{BFA939FD-A28D-AA4E-B307-089FBC849DE1}" srcOrd="0" destOrd="0" presId="urn:microsoft.com/office/officeart/2008/layout/LinedList"/>
    <dgm:cxn modelId="{CA4B77C6-A839-F043-A002-C5BC176BFA72}" type="presParOf" srcId="{0DD12730-B1DA-9F44-9DD0-5B01B145D3BB}" destId="{2DDD515D-CE6E-7F4D-9B95-4FBA4A0AEDE6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5D62F0D9-F62E-470E-86C1-99BBA8E85072}" type="doc">
      <dgm:prSet loTypeId="urn:microsoft.com/office/officeart/2005/8/layout/cycle2" loCatId="cycle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DF463DA-C321-47BB-A748-44B5D722BDE4}">
      <dgm:prSet/>
      <dgm:spPr/>
      <dgm:t>
        <a:bodyPr/>
        <a:lstStyle/>
        <a:p>
          <a:r>
            <a:rPr lang="en-US" dirty="0"/>
            <a:t>page 13</a:t>
          </a:r>
        </a:p>
      </dgm:t>
    </dgm:pt>
    <dgm:pt modelId="{F48166A5-2C17-4691-BB69-444CA7309013}" type="sibTrans" cxnId="{DE7A5ECD-2A79-4AA9-A9C6-B8376AED4A18}">
      <dgm:prSet/>
      <dgm:spPr/>
      <dgm:t>
        <a:bodyPr/>
        <a:lstStyle/>
        <a:p>
          <a:endParaRPr lang="en-US"/>
        </a:p>
      </dgm:t>
    </dgm:pt>
    <dgm:pt modelId="{A8C8FDDF-A7B6-466B-8F6D-BCEF0E6E70DC}" type="parTrans" cxnId="{DE7A5ECD-2A79-4AA9-A9C6-B8376AED4A18}">
      <dgm:prSet/>
      <dgm:spPr/>
      <dgm:t>
        <a:bodyPr/>
        <a:lstStyle/>
        <a:p>
          <a:endParaRPr lang="en-US"/>
        </a:p>
      </dgm:t>
    </dgm:pt>
    <dgm:pt modelId="{8A46F5DD-BBB3-4FA2-8F4F-67830FF58BA8}" type="pres">
      <dgm:prSet presAssocID="{5D62F0D9-F62E-470E-86C1-99BBA8E85072}" presName="cycle" presStyleCnt="0">
        <dgm:presLayoutVars>
          <dgm:dir/>
          <dgm:resizeHandles val="exact"/>
        </dgm:presLayoutVars>
      </dgm:prSet>
      <dgm:spPr/>
    </dgm:pt>
    <dgm:pt modelId="{03D7DCAF-0535-410C-B056-000B4ED11701}" type="pres">
      <dgm:prSet presAssocID="{9DF463DA-C321-47BB-A748-44B5D722BDE4}" presName="node" presStyleLbl="node1" presStyleIdx="0" presStyleCnt="1">
        <dgm:presLayoutVars>
          <dgm:bulletEnabled val="1"/>
        </dgm:presLayoutVars>
      </dgm:prSet>
      <dgm:spPr/>
    </dgm:pt>
  </dgm:ptLst>
  <dgm:cxnLst>
    <dgm:cxn modelId="{3AF551CB-BAB4-6346-8C41-E0DBB33B7A0D}" type="presOf" srcId="{9DF463DA-C321-47BB-A748-44B5D722BDE4}" destId="{03D7DCAF-0535-410C-B056-000B4ED11701}" srcOrd="0" destOrd="0" presId="urn:microsoft.com/office/officeart/2005/8/layout/cycle2"/>
    <dgm:cxn modelId="{DE7A5ECD-2A79-4AA9-A9C6-B8376AED4A18}" srcId="{5D62F0D9-F62E-470E-86C1-99BBA8E85072}" destId="{9DF463DA-C321-47BB-A748-44B5D722BDE4}" srcOrd="0" destOrd="0" parTransId="{A8C8FDDF-A7B6-466B-8F6D-BCEF0E6E70DC}" sibTransId="{F48166A5-2C17-4691-BB69-444CA7309013}"/>
    <dgm:cxn modelId="{DED890D4-5161-7242-A8B4-B6969E24B65A}" type="presOf" srcId="{5D62F0D9-F62E-470E-86C1-99BBA8E85072}" destId="{8A46F5DD-BBB3-4FA2-8F4F-67830FF58BA8}" srcOrd="0" destOrd="0" presId="urn:microsoft.com/office/officeart/2005/8/layout/cycle2"/>
    <dgm:cxn modelId="{8772B73C-F7C2-864B-8003-60F0E900BD82}" type="presParOf" srcId="{8A46F5DD-BBB3-4FA2-8F4F-67830FF58BA8}" destId="{03D7DCAF-0535-410C-B056-000B4ED11701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2BA0D8E-884F-D545-BFF7-95207C181DAB}" type="doc">
      <dgm:prSet loTypeId="urn:microsoft.com/office/officeart/2008/layout/LinedLis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E15282A0-97C8-214B-8F13-5C3D9F494625}">
      <dgm:prSet/>
      <dgm:spPr/>
      <dgm:t>
        <a:bodyPr/>
        <a:lstStyle/>
        <a:p>
          <a:pPr rtl="0"/>
          <a:endParaRPr lang="en-CA" dirty="0"/>
        </a:p>
      </dgm:t>
    </dgm:pt>
    <dgm:pt modelId="{BA02AD92-5D10-1A42-9AE6-EC337DB75B02}" type="parTrans" cxnId="{F5120F8F-DB12-224A-9619-18E7931B4453}">
      <dgm:prSet/>
      <dgm:spPr/>
      <dgm:t>
        <a:bodyPr/>
        <a:lstStyle/>
        <a:p>
          <a:endParaRPr lang="en-US"/>
        </a:p>
      </dgm:t>
    </dgm:pt>
    <dgm:pt modelId="{B5EB1C69-2E79-4D4F-8BAE-137DF3E41A38}" type="sibTrans" cxnId="{F5120F8F-DB12-224A-9619-18E7931B4453}">
      <dgm:prSet/>
      <dgm:spPr/>
      <dgm:t>
        <a:bodyPr/>
        <a:lstStyle/>
        <a:p>
          <a:endParaRPr lang="en-US"/>
        </a:p>
      </dgm:t>
    </dgm:pt>
    <dgm:pt modelId="{56FD74BF-F2D5-4BAF-917F-EE8C92B19290}">
      <dgm:prSet/>
      <dgm:spPr/>
      <dgm:t>
        <a:bodyPr/>
        <a:lstStyle/>
        <a:p>
          <a:pPr rtl="0"/>
          <a:r>
            <a:rPr lang="en-CA" dirty="0"/>
            <a:t>Part-year residents</a:t>
          </a:r>
        </a:p>
      </dgm:t>
    </dgm:pt>
    <dgm:pt modelId="{E05134B7-036F-4123-B939-835CC4B2F690}" type="parTrans" cxnId="{78B004A7-6EE4-4F11-BA9A-0CE0B3ABB9B8}">
      <dgm:prSet/>
      <dgm:spPr/>
      <dgm:t>
        <a:bodyPr/>
        <a:lstStyle/>
        <a:p>
          <a:endParaRPr lang="en-CA"/>
        </a:p>
      </dgm:t>
    </dgm:pt>
    <dgm:pt modelId="{408E7608-C1BE-461B-945B-8ED576104B46}" type="sibTrans" cxnId="{78B004A7-6EE4-4F11-BA9A-0CE0B3ABB9B8}">
      <dgm:prSet/>
      <dgm:spPr/>
      <dgm:t>
        <a:bodyPr/>
        <a:lstStyle/>
        <a:p>
          <a:endParaRPr lang="en-CA"/>
        </a:p>
      </dgm:t>
    </dgm:pt>
    <dgm:pt modelId="{71C83C54-360B-4BF1-A56A-FD92EA05D4A0}">
      <dgm:prSet/>
      <dgm:spPr/>
      <dgm:t>
        <a:bodyPr/>
        <a:lstStyle/>
        <a:p>
          <a:pPr rtl="0"/>
          <a:r>
            <a:rPr lang="en-CA" dirty="0"/>
            <a:t>Cdn non-res income</a:t>
          </a:r>
        </a:p>
      </dgm:t>
    </dgm:pt>
    <dgm:pt modelId="{859F54C8-EBD3-40D6-8883-C5669F5CB011}" type="parTrans" cxnId="{02622A74-C294-40F8-B192-72EDFB2EC2B6}">
      <dgm:prSet/>
      <dgm:spPr/>
      <dgm:t>
        <a:bodyPr/>
        <a:lstStyle/>
        <a:p>
          <a:endParaRPr lang="en-CA"/>
        </a:p>
      </dgm:t>
    </dgm:pt>
    <dgm:pt modelId="{AB9BAFC2-114F-43E9-9EFC-F6095034875B}" type="sibTrans" cxnId="{02622A74-C294-40F8-B192-72EDFB2EC2B6}">
      <dgm:prSet/>
      <dgm:spPr/>
      <dgm:t>
        <a:bodyPr/>
        <a:lstStyle/>
        <a:p>
          <a:endParaRPr lang="en-CA"/>
        </a:p>
      </dgm:t>
    </dgm:pt>
    <dgm:pt modelId="{39459CB6-8DF8-4A16-85F7-D37BCBCA4290}">
      <dgm:prSet/>
      <dgm:spPr/>
      <dgm:t>
        <a:bodyPr/>
        <a:lstStyle/>
        <a:p>
          <a:pPr rtl="0"/>
          <a:endParaRPr lang="en-CA" dirty="0"/>
        </a:p>
      </dgm:t>
    </dgm:pt>
    <dgm:pt modelId="{88D1569F-395D-4161-B692-44FA7676A2A2}" type="parTrans" cxnId="{927390C0-C24D-4992-A8AB-085883DC7B10}">
      <dgm:prSet/>
      <dgm:spPr/>
      <dgm:t>
        <a:bodyPr/>
        <a:lstStyle/>
        <a:p>
          <a:endParaRPr lang="en-CA"/>
        </a:p>
      </dgm:t>
    </dgm:pt>
    <dgm:pt modelId="{8433FCEA-B386-4456-899D-77EB9B3BFB2C}" type="sibTrans" cxnId="{927390C0-C24D-4992-A8AB-085883DC7B10}">
      <dgm:prSet/>
      <dgm:spPr/>
      <dgm:t>
        <a:bodyPr/>
        <a:lstStyle/>
        <a:p>
          <a:endParaRPr lang="en-CA"/>
        </a:p>
      </dgm:t>
    </dgm:pt>
    <dgm:pt modelId="{39725E07-239D-4F59-ABAC-501128F8C653}">
      <dgm:prSet/>
      <dgm:spPr/>
      <dgm:t>
        <a:bodyPr/>
        <a:lstStyle/>
        <a:p>
          <a:pPr rtl="0"/>
          <a:r>
            <a:rPr lang="en-CA" dirty="0"/>
            <a:t>Foreign non-res income</a:t>
          </a:r>
        </a:p>
      </dgm:t>
    </dgm:pt>
    <dgm:pt modelId="{14C2C21E-1467-429A-8DDD-5182907135C8}" type="parTrans" cxnId="{2BD1FBFA-F6A7-464B-8659-216D553CDFA7}">
      <dgm:prSet/>
      <dgm:spPr/>
      <dgm:t>
        <a:bodyPr/>
        <a:lstStyle/>
        <a:p>
          <a:endParaRPr lang="en-CA"/>
        </a:p>
      </dgm:t>
    </dgm:pt>
    <dgm:pt modelId="{95DD5E8D-F78F-48CE-91C9-CF0B21468B0D}" type="sibTrans" cxnId="{2BD1FBFA-F6A7-464B-8659-216D553CDFA7}">
      <dgm:prSet/>
      <dgm:spPr/>
      <dgm:t>
        <a:bodyPr/>
        <a:lstStyle/>
        <a:p>
          <a:endParaRPr lang="en-CA"/>
        </a:p>
      </dgm:t>
    </dgm:pt>
    <dgm:pt modelId="{2096C49C-81F8-BE4C-8A7B-340FC62A30AF}">
      <dgm:prSet/>
      <dgm:spPr/>
      <dgm:t>
        <a:bodyPr/>
        <a:lstStyle/>
        <a:p>
          <a:pPr rtl="0"/>
          <a:r>
            <a:rPr lang="en-CA" dirty="0"/>
            <a:t>date of entry</a:t>
          </a:r>
        </a:p>
      </dgm:t>
    </dgm:pt>
    <dgm:pt modelId="{9E16B1EA-0125-2B45-AEC6-83E679532200}" type="parTrans" cxnId="{30C5470D-954B-2D43-A1FF-CC0D43584846}">
      <dgm:prSet/>
      <dgm:spPr/>
      <dgm:t>
        <a:bodyPr/>
        <a:lstStyle/>
        <a:p>
          <a:endParaRPr lang="en-US"/>
        </a:p>
      </dgm:t>
    </dgm:pt>
    <dgm:pt modelId="{B5572A6A-CF31-3748-8A3F-FAD11ABC3D5E}" type="sibTrans" cxnId="{30C5470D-954B-2D43-A1FF-CC0D43584846}">
      <dgm:prSet/>
      <dgm:spPr/>
      <dgm:t>
        <a:bodyPr/>
        <a:lstStyle/>
        <a:p>
          <a:endParaRPr lang="en-US"/>
        </a:p>
      </dgm:t>
    </dgm:pt>
    <dgm:pt modelId="{53B658BC-E84C-2048-9858-EDE7851062D9}" type="pres">
      <dgm:prSet presAssocID="{02BA0D8E-884F-D545-BFF7-95207C181DAB}" presName="vert0" presStyleCnt="0">
        <dgm:presLayoutVars>
          <dgm:dir/>
          <dgm:animOne val="branch"/>
          <dgm:animLvl val="lvl"/>
        </dgm:presLayoutVars>
      </dgm:prSet>
      <dgm:spPr/>
    </dgm:pt>
    <dgm:pt modelId="{26EF88FA-735B-2243-B377-15AEADF9ECFC}" type="pres">
      <dgm:prSet presAssocID="{E15282A0-97C8-214B-8F13-5C3D9F494625}" presName="thickLine" presStyleLbl="alignNode1" presStyleIdx="0" presStyleCnt="1"/>
      <dgm:spPr/>
    </dgm:pt>
    <dgm:pt modelId="{BCD6B7E9-E93D-ED47-900C-F87E1C39522B}" type="pres">
      <dgm:prSet presAssocID="{E15282A0-97C8-214B-8F13-5C3D9F494625}" presName="horz1" presStyleCnt="0"/>
      <dgm:spPr/>
    </dgm:pt>
    <dgm:pt modelId="{9E2AE8E7-FC04-BA49-B622-D2F9C310B781}" type="pres">
      <dgm:prSet presAssocID="{E15282A0-97C8-214B-8F13-5C3D9F494625}" presName="tx1" presStyleLbl="revTx" presStyleIdx="0" presStyleCnt="6"/>
      <dgm:spPr/>
    </dgm:pt>
    <dgm:pt modelId="{C2894D39-B8B3-2645-932B-3C33C18CF355}" type="pres">
      <dgm:prSet presAssocID="{E15282A0-97C8-214B-8F13-5C3D9F494625}" presName="vert1" presStyleCnt="0"/>
      <dgm:spPr/>
    </dgm:pt>
    <dgm:pt modelId="{BA32528E-A71A-4048-9DAE-4CA104A3A7EE}" type="pres">
      <dgm:prSet presAssocID="{56FD74BF-F2D5-4BAF-917F-EE8C92B19290}" presName="vertSpace2a" presStyleCnt="0"/>
      <dgm:spPr/>
    </dgm:pt>
    <dgm:pt modelId="{7D36D3E0-83BD-A841-AFBE-02BAD8782651}" type="pres">
      <dgm:prSet presAssocID="{56FD74BF-F2D5-4BAF-917F-EE8C92B19290}" presName="horz2" presStyleCnt="0"/>
      <dgm:spPr/>
    </dgm:pt>
    <dgm:pt modelId="{EA486258-AF2E-B34A-86AC-B28FCAD95628}" type="pres">
      <dgm:prSet presAssocID="{56FD74BF-F2D5-4BAF-917F-EE8C92B19290}" presName="horzSpace2" presStyleCnt="0"/>
      <dgm:spPr/>
    </dgm:pt>
    <dgm:pt modelId="{514E8E2D-4864-0544-8A1B-AD2F8F810962}" type="pres">
      <dgm:prSet presAssocID="{56FD74BF-F2D5-4BAF-917F-EE8C92B19290}" presName="tx2" presStyleLbl="revTx" presStyleIdx="1" presStyleCnt="6"/>
      <dgm:spPr/>
    </dgm:pt>
    <dgm:pt modelId="{21DEDC35-0B5F-BA4D-BB6D-B89C90A332D7}" type="pres">
      <dgm:prSet presAssocID="{56FD74BF-F2D5-4BAF-917F-EE8C92B19290}" presName="vert2" presStyleCnt="0"/>
      <dgm:spPr/>
    </dgm:pt>
    <dgm:pt modelId="{74B9EF75-434B-4545-AFA6-CA6D284C5126}" type="pres">
      <dgm:prSet presAssocID="{56FD74BF-F2D5-4BAF-917F-EE8C92B19290}" presName="thinLine2b" presStyleLbl="callout" presStyleIdx="0" presStyleCnt="5"/>
      <dgm:spPr/>
    </dgm:pt>
    <dgm:pt modelId="{70DB0B2A-0068-8F4E-AA01-C1B563BAB45E}" type="pres">
      <dgm:prSet presAssocID="{56FD74BF-F2D5-4BAF-917F-EE8C92B19290}" presName="vertSpace2b" presStyleCnt="0"/>
      <dgm:spPr/>
    </dgm:pt>
    <dgm:pt modelId="{E47FAF25-52B2-414C-9E28-D571BA9F2201}" type="pres">
      <dgm:prSet presAssocID="{2096C49C-81F8-BE4C-8A7B-340FC62A30AF}" presName="horz2" presStyleCnt="0"/>
      <dgm:spPr/>
    </dgm:pt>
    <dgm:pt modelId="{B83F8084-872A-634B-90E8-262E55871351}" type="pres">
      <dgm:prSet presAssocID="{2096C49C-81F8-BE4C-8A7B-340FC62A30AF}" presName="horzSpace2" presStyleCnt="0"/>
      <dgm:spPr/>
    </dgm:pt>
    <dgm:pt modelId="{62B50306-0A49-9447-9177-E7D13913CAA4}" type="pres">
      <dgm:prSet presAssocID="{2096C49C-81F8-BE4C-8A7B-340FC62A30AF}" presName="tx2" presStyleLbl="revTx" presStyleIdx="2" presStyleCnt="6"/>
      <dgm:spPr/>
    </dgm:pt>
    <dgm:pt modelId="{C0AE0128-4E0B-7C43-AE3E-EB6236CBB94C}" type="pres">
      <dgm:prSet presAssocID="{2096C49C-81F8-BE4C-8A7B-340FC62A30AF}" presName="vert2" presStyleCnt="0"/>
      <dgm:spPr/>
    </dgm:pt>
    <dgm:pt modelId="{CB0FA2FF-9197-6642-BB4B-D76D1AD82D28}" type="pres">
      <dgm:prSet presAssocID="{2096C49C-81F8-BE4C-8A7B-340FC62A30AF}" presName="thinLine2b" presStyleLbl="callout" presStyleIdx="1" presStyleCnt="5"/>
      <dgm:spPr/>
    </dgm:pt>
    <dgm:pt modelId="{55CDCAAD-3850-0544-8D32-B374BF2C4790}" type="pres">
      <dgm:prSet presAssocID="{2096C49C-81F8-BE4C-8A7B-340FC62A30AF}" presName="vertSpace2b" presStyleCnt="0"/>
      <dgm:spPr/>
    </dgm:pt>
    <dgm:pt modelId="{1BEEA471-EA95-A44A-87E3-D62EF062F051}" type="pres">
      <dgm:prSet presAssocID="{71C83C54-360B-4BF1-A56A-FD92EA05D4A0}" presName="horz2" presStyleCnt="0"/>
      <dgm:spPr/>
    </dgm:pt>
    <dgm:pt modelId="{43F6363D-12D3-1347-880D-B61CFD01DBB6}" type="pres">
      <dgm:prSet presAssocID="{71C83C54-360B-4BF1-A56A-FD92EA05D4A0}" presName="horzSpace2" presStyleCnt="0"/>
      <dgm:spPr/>
    </dgm:pt>
    <dgm:pt modelId="{6115EA76-CC06-814D-988E-8EE12DA45990}" type="pres">
      <dgm:prSet presAssocID="{71C83C54-360B-4BF1-A56A-FD92EA05D4A0}" presName="tx2" presStyleLbl="revTx" presStyleIdx="3" presStyleCnt="6"/>
      <dgm:spPr/>
    </dgm:pt>
    <dgm:pt modelId="{CF6706BA-052E-2D49-9905-BDDA0451EF0C}" type="pres">
      <dgm:prSet presAssocID="{71C83C54-360B-4BF1-A56A-FD92EA05D4A0}" presName="vert2" presStyleCnt="0"/>
      <dgm:spPr/>
    </dgm:pt>
    <dgm:pt modelId="{38FA8259-6215-1349-B2BE-C6A725D27439}" type="pres">
      <dgm:prSet presAssocID="{71C83C54-360B-4BF1-A56A-FD92EA05D4A0}" presName="thinLine2b" presStyleLbl="callout" presStyleIdx="2" presStyleCnt="5"/>
      <dgm:spPr/>
    </dgm:pt>
    <dgm:pt modelId="{20B30B51-3CA0-4B42-B999-FFFA6A47A903}" type="pres">
      <dgm:prSet presAssocID="{71C83C54-360B-4BF1-A56A-FD92EA05D4A0}" presName="vertSpace2b" presStyleCnt="0"/>
      <dgm:spPr/>
    </dgm:pt>
    <dgm:pt modelId="{A2694B40-A1F0-DF4F-9362-9B982AB47314}" type="pres">
      <dgm:prSet presAssocID="{39725E07-239D-4F59-ABAC-501128F8C653}" presName="horz2" presStyleCnt="0"/>
      <dgm:spPr/>
    </dgm:pt>
    <dgm:pt modelId="{B1137984-FBA7-4340-A89F-1E46FC4943FE}" type="pres">
      <dgm:prSet presAssocID="{39725E07-239D-4F59-ABAC-501128F8C653}" presName="horzSpace2" presStyleCnt="0"/>
      <dgm:spPr/>
    </dgm:pt>
    <dgm:pt modelId="{24E1ACDE-E853-394E-B9F2-40F99DD69A5E}" type="pres">
      <dgm:prSet presAssocID="{39725E07-239D-4F59-ABAC-501128F8C653}" presName="tx2" presStyleLbl="revTx" presStyleIdx="4" presStyleCnt="6"/>
      <dgm:spPr/>
    </dgm:pt>
    <dgm:pt modelId="{16C70FED-AE7E-EF40-87BE-17452ACCCF06}" type="pres">
      <dgm:prSet presAssocID="{39725E07-239D-4F59-ABAC-501128F8C653}" presName="vert2" presStyleCnt="0"/>
      <dgm:spPr/>
    </dgm:pt>
    <dgm:pt modelId="{E8F64688-5232-2D42-A3BE-577D65B68AB3}" type="pres">
      <dgm:prSet presAssocID="{39725E07-239D-4F59-ABAC-501128F8C653}" presName="thinLine2b" presStyleLbl="callout" presStyleIdx="3" presStyleCnt="5"/>
      <dgm:spPr/>
    </dgm:pt>
    <dgm:pt modelId="{335BC010-0CD2-1A43-A023-980C585474B6}" type="pres">
      <dgm:prSet presAssocID="{39725E07-239D-4F59-ABAC-501128F8C653}" presName="vertSpace2b" presStyleCnt="0"/>
      <dgm:spPr/>
    </dgm:pt>
    <dgm:pt modelId="{6CF9F82A-ABE3-E54F-AA11-6275984518E6}" type="pres">
      <dgm:prSet presAssocID="{39459CB6-8DF8-4A16-85F7-D37BCBCA4290}" presName="horz2" presStyleCnt="0"/>
      <dgm:spPr/>
    </dgm:pt>
    <dgm:pt modelId="{7BE5F064-CC62-FA4B-84E8-ADC4BE11C665}" type="pres">
      <dgm:prSet presAssocID="{39459CB6-8DF8-4A16-85F7-D37BCBCA4290}" presName="horzSpace2" presStyleCnt="0"/>
      <dgm:spPr/>
    </dgm:pt>
    <dgm:pt modelId="{7E24C609-7EFA-B445-B575-B368E9160FD9}" type="pres">
      <dgm:prSet presAssocID="{39459CB6-8DF8-4A16-85F7-D37BCBCA4290}" presName="tx2" presStyleLbl="revTx" presStyleIdx="5" presStyleCnt="6"/>
      <dgm:spPr/>
    </dgm:pt>
    <dgm:pt modelId="{5A34BA86-0E5E-914C-9463-4E3C8C40698C}" type="pres">
      <dgm:prSet presAssocID="{39459CB6-8DF8-4A16-85F7-D37BCBCA4290}" presName="vert2" presStyleCnt="0"/>
      <dgm:spPr/>
    </dgm:pt>
    <dgm:pt modelId="{F58CA116-2E1F-6445-AA86-D6A67F45AE32}" type="pres">
      <dgm:prSet presAssocID="{39459CB6-8DF8-4A16-85F7-D37BCBCA4290}" presName="thinLine2b" presStyleLbl="callout" presStyleIdx="4" presStyleCnt="5"/>
      <dgm:spPr/>
    </dgm:pt>
    <dgm:pt modelId="{DED50598-8AD5-CB44-9AE7-78F5F7AEA83E}" type="pres">
      <dgm:prSet presAssocID="{39459CB6-8DF8-4A16-85F7-D37BCBCA4290}" presName="vertSpace2b" presStyleCnt="0"/>
      <dgm:spPr/>
    </dgm:pt>
  </dgm:ptLst>
  <dgm:cxnLst>
    <dgm:cxn modelId="{30C5470D-954B-2D43-A1FF-CC0D43584846}" srcId="{E15282A0-97C8-214B-8F13-5C3D9F494625}" destId="{2096C49C-81F8-BE4C-8A7B-340FC62A30AF}" srcOrd="1" destOrd="0" parTransId="{9E16B1EA-0125-2B45-AEC6-83E679532200}" sibTransId="{B5572A6A-CF31-3748-8A3F-FAD11ABC3D5E}"/>
    <dgm:cxn modelId="{8B63CE6B-BA7D-524B-BCA0-92ACB07FFBA4}" type="presOf" srcId="{02BA0D8E-884F-D545-BFF7-95207C181DAB}" destId="{53B658BC-E84C-2048-9858-EDE7851062D9}" srcOrd="0" destOrd="0" presId="urn:microsoft.com/office/officeart/2008/layout/LinedList"/>
    <dgm:cxn modelId="{02622A74-C294-40F8-B192-72EDFB2EC2B6}" srcId="{E15282A0-97C8-214B-8F13-5C3D9F494625}" destId="{71C83C54-360B-4BF1-A56A-FD92EA05D4A0}" srcOrd="2" destOrd="0" parTransId="{859F54C8-EBD3-40D6-8883-C5669F5CB011}" sibTransId="{AB9BAFC2-114F-43E9-9EFC-F6095034875B}"/>
    <dgm:cxn modelId="{F5120F8F-DB12-224A-9619-18E7931B4453}" srcId="{02BA0D8E-884F-D545-BFF7-95207C181DAB}" destId="{E15282A0-97C8-214B-8F13-5C3D9F494625}" srcOrd="0" destOrd="0" parTransId="{BA02AD92-5D10-1A42-9AE6-EC337DB75B02}" sibTransId="{B5EB1C69-2E79-4D4F-8BAE-137DF3E41A38}"/>
    <dgm:cxn modelId="{A0077B90-26DE-7440-8811-D668EEAD52AE}" type="presOf" srcId="{2096C49C-81F8-BE4C-8A7B-340FC62A30AF}" destId="{62B50306-0A49-9447-9177-E7D13913CAA4}" srcOrd="0" destOrd="0" presId="urn:microsoft.com/office/officeart/2008/layout/LinedList"/>
    <dgm:cxn modelId="{768F4694-B83E-124A-A3C9-2FA4A26F64F1}" type="presOf" srcId="{71C83C54-360B-4BF1-A56A-FD92EA05D4A0}" destId="{6115EA76-CC06-814D-988E-8EE12DA45990}" srcOrd="0" destOrd="0" presId="urn:microsoft.com/office/officeart/2008/layout/LinedList"/>
    <dgm:cxn modelId="{78B004A7-6EE4-4F11-BA9A-0CE0B3ABB9B8}" srcId="{E15282A0-97C8-214B-8F13-5C3D9F494625}" destId="{56FD74BF-F2D5-4BAF-917F-EE8C92B19290}" srcOrd="0" destOrd="0" parTransId="{E05134B7-036F-4123-B939-835CC4B2F690}" sibTransId="{408E7608-C1BE-461B-945B-8ED576104B46}"/>
    <dgm:cxn modelId="{CBB0A7B4-2466-4E4C-8060-6FA6A6DDF44E}" type="presOf" srcId="{E15282A0-97C8-214B-8F13-5C3D9F494625}" destId="{9E2AE8E7-FC04-BA49-B622-D2F9C310B781}" srcOrd="0" destOrd="0" presId="urn:microsoft.com/office/officeart/2008/layout/LinedList"/>
    <dgm:cxn modelId="{927390C0-C24D-4992-A8AB-085883DC7B10}" srcId="{E15282A0-97C8-214B-8F13-5C3D9F494625}" destId="{39459CB6-8DF8-4A16-85F7-D37BCBCA4290}" srcOrd="4" destOrd="0" parTransId="{88D1569F-395D-4161-B692-44FA7676A2A2}" sibTransId="{8433FCEA-B386-4456-899D-77EB9B3BFB2C}"/>
    <dgm:cxn modelId="{A25F55C7-063F-DA4E-8758-6F8F18A10D47}" type="presOf" srcId="{56FD74BF-F2D5-4BAF-917F-EE8C92B19290}" destId="{514E8E2D-4864-0544-8A1B-AD2F8F810962}" srcOrd="0" destOrd="0" presId="urn:microsoft.com/office/officeart/2008/layout/LinedList"/>
    <dgm:cxn modelId="{62A733EE-61AB-C240-A3EE-5145ED57DF18}" type="presOf" srcId="{39459CB6-8DF8-4A16-85F7-D37BCBCA4290}" destId="{7E24C609-7EFA-B445-B575-B368E9160FD9}" srcOrd="0" destOrd="0" presId="urn:microsoft.com/office/officeart/2008/layout/LinedList"/>
    <dgm:cxn modelId="{BCAFEAF9-BCDB-7749-9D6D-64A3C2316F59}" type="presOf" srcId="{39725E07-239D-4F59-ABAC-501128F8C653}" destId="{24E1ACDE-E853-394E-B9F2-40F99DD69A5E}" srcOrd="0" destOrd="0" presId="urn:microsoft.com/office/officeart/2008/layout/LinedList"/>
    <dgm:cxn modelId="{2BD1FBFA-F6A7-464B-8659-216D553CDFA7}" srcId="{E15282A0-97C8-214B-8F13-5C3D9F494625}" destId="{39725E07-239D-4F59-ABAC-501128F8C653}" srcOrd="3" destOrd="0" parTransId="{14C2C21E-1467-429A-8DDD-5182907135C8}" sibTransId="{95DD5E8D-F78F-48CE-91C9-CF0B21468B0D}"/>
    <dgm:cxn modelId="{095534DF-43CE-B648-A70B-BE7F00A73EF2}" type="presParOf" srcId="{53B658BC-E84C-2048-9858-EDE7851062D9}" destId="{26EF88FA-735B-2243-B377-15AEADF9ECFC}" srcOrd="0" destOrd="0" presId="urn:microsoft.com/office/officeart/2008/layout/LinedList"/>
    <dgm:cxn modelId="{88E45160-5682-9844-940E-CF861A5F7220}" type="presParOf" srcId="{53B658BC-E84C-2048-9858-EDE7851062D9}" destId="{BCD6B7E9-E93D-ED47-900C-F87E1C39522B}" srcOrd="1" destOrd="0" presId="urn:microsoft.com/office/officeart/2008/layout/LinedList"/>
    <dgm:cxn modelId="{840DE3FC-5BB8-CB46-B566-70DB0D1F375D}" type="presParOf" srcId="{BCD6B7E9-E93D-ED47-900C-F87E1C39522B}" destId="{9E2AE8E7-FC04-BA49-B622-D2F9C310B781}" srcOrd="0" destOrd="0" presId="urn:microsoft.com/office/officeart/2008/layout/LinedList"/>
    <dgm:cxn modelId="{692EFF9D-F998-314C-8A73-2C76AEE73D3A}" type="presParOf" srcId="{BCD6B7E9-E93D-ED47-900C-F87E1C39522B}" destId="{C2894D39-B8B3-2645-932B-3C33C18CF355}" srcOrd="1" destOrd="0" presId="urn:microsoft.com/office/officeart/2008/layout/LinedList"/>
    <dgm:cxn modelId="{26C10FED-275A-F045-8EAD-AE2B32C48B44}" type="presParOf" srcId="{C2894D39-B8B3-2645-932B-3C33C18CF355}" destId="{BA32528E-A71A-4048-9DAE-4CA104A3A7EE}" srcOrd="0" destOrd="0" presId="urn:microsoft.com/office/officeart/2008/layout/LinedList"/>
    <dgm:cxn modelId="{61D8AAFF-4D83-6E48-B68D-83CFCF8AA6C0}" type="presParOf" srcId="{C2894D39-B8B3-2645-932B-3C33C18CF355}" destId="{7D36D3E0-83BD-A841-AFBE-02BAD8782651}" srcOrd="1" destOrd="0" presId="urn:microsoft.com/office/officeart/2008/layout/LinedList"/>
    <dgm:cxn modelId="{1B72BA36-3FF5-8144-8280-CDCA7AFC2166}" type="presParOf" srcId="{7D36D3E0-83BD-A841-AFBE-02BAD8782651}" destId="{EA486258-AF2E-B34A-86AC-B28FCAD95628}" srcOrd="0" destOrd="0" presId="urn:microsoft.com/office/officeart/2008/layout/LinedList"/>
    <dgm:cxn modelId="{E5AEB517-0862-7E44-81F0-0E1383F28DBD}" type="presParOf" srcId="{7D36D3E0-83BD-A841-AFBE-02BAD8782651}" destId="{514E8E2D-4864-0544-8A1B-AD2F8F810962}" srcOrd="1" destOrd="0" presId="urn:microsoft.com/office/officeart/2008/layout/LinedList"/>
    <dgm:cxn modelId="{E161FFB8-6094-3941-BA50-8460EE286A86}" type="presParOf" srcId="{7D36D3E0-83BD-A841-AFBE-02BAD8782651}" destId="{21DEDC35-0B5F-BA4D-BB6D-B89C90A332D7}" srcOrd="2" destOrd="0" presId="urn:microsoft.com/office/officeart/2008/layout/LinedList"/>
    <dgm:cxn modelId="{E5C9D5EC-16A0-AF4E-9D78-B545D4530CD0}" type="presParOf" srcId="{C2894D39-B8B3-2645-932B-3C33C18CF355}" destId="{74B9EF75-434B-4545-AFA6-CA6D284C5126}" srcOrd="2" destOrd="0" presId="urn:microsoft.com/office/officeart/2008/layout/LinedList"/>
    <dgm:cxn modelId="{01D2F943-6C22-8240-A51E-F876CA5F9B8E}" type="presParOf" srcId="{C2894D39-B8B3-2645-932B-3C33C18CF355}" destId="{70DB0B2A-0068-8F4E-AA01-C1B563BAB45E}" srcOrd="3" destOrd="0" presId="urn:microsoft.com/office/officeart/2008/layout/LinedList"/>
    <dgm:cxn modelId="{9F362068-702C-F64E-9251-79450C8BC06B}" type="presParOf" srcId="{C2894D39-B8B3-2645-932B-3C33C18CF355}" destId="{E47FAF25-52B2-414C-9E28-D571BA9F2201}" srcOrd="4" destOrd="0" presId="urn:microsoft.com/office/officeart/2008/layout/LinedList"/>
    <dgm:cxn modelId="{D8E917BC-CD33-8342-A368-77DF1A77BFEB}" type="presParOf" srcId="{E47FAF25-52B2-414C-9E28-D571BA9F2201}" destId="{B83F8084-872A-634B-90E8-262E55871351}" srcOrd="0" destOrd="0" presId="urn:microsoft.com/office/officeart/2008/layout/LinedList"/>
    <dgm:cxn modelId="{3AAB0110-B5F8-2447-B777-0705331B0A2B}" type="presParOf" srcId="{E47FAF25-52B2-414C-9E28-D571BA9F2201}" destId="{62B50306-0A49-9447-9177-E7D13913CAA4}" srcOrd="1" destOrd="0" presId="urn:microsoft.com/office/officeart/2008/layout/LinedList"/>
    <dgm:cxn modelId="{C7E64184-22FC-1649-9223-DFE32BD42213}" type="presParOf" srcId="{E47FAF25-52B2-414C-9E28-D571BA9F2201}" destId="{C0AE0128-4E0B-7C43-AE3E-EB6236CBB94C}" srcOrd="2" destOrd="0" presId="urn:microsoft.com/office/officeart/2008/layout/LinedList"/>
    <dgm:cxn modelId="{B26C47D4-9292-FA47-8D7C-7F1281ED6689}" type="presParOf" srcId="{C2894D39-B8B3-2645-932B-3C33C18CF355}" destId="{CB0FA2FF-9197-6642-BB4B-D76D1AD82D28}" srcOrd="5" destOrd="0" presId="urn:microsoft.com/office/officeart/2008/layout/LinedList"/>
    <dgm:cxn modelId="{AAF7EC0A-25F1-4049-8753-139A75AC616B}" type="presParOf" srcId="{C2894D39-B8B3-2645-932B-3C33C18CF355}" destId="{55CDCAAD-3850-0544-8D32-B374BF2C4790}" srcOrd="6" destOrd="0" presId="urn:microsoft.com/office/officeart/2008/layout/LinedList"/>
    <dgm:cxn modelId="{A6E243B8-F6FA-1E4B-98AF-9299B89BA25A}" type="presParOf" srcId="{C2894D39-B8B3-2645-932B-3C33C18CF355}" destId="{1BEEA471-EA95-A44A-87E3-D62EF062F051}" srcOrd="7" destOrd="0" presId="urn:microsoft.com/office/officeart/2008/layout/LinedList"/>
    <dgm:cxn modelId="{7B20542B-5CFC-864E-BAF9-83B3A4CAEA28}" type="presParOf" srcId="{1BEEA471-EA95-A44A-87E3-D62EF062F051}" destId="{43F6363D-12D3-1347-880D-B61CFD01DBB6}" srcOrd="0" destOrd="0" presId="urn:microsoft.com/office/officeart/2008/layout/LinedList"/>
    <dgm:cxn modelId="{2757C47A-1A70-524C-8FF5-E6D281833293}" type="presParOf" srcId="{1BEEA471-EA95-A44A-87E3-D62EF062F051}" destId="{6115EA76-CC06-814D-988E-8EE12DA45990}" srcOrd="1" destOrd="0" presId="urn:microsoft.com/office/officeart/2008/layout/LinedList"/>
    <dgm:cxn modelId="{818E6343-2E43-8743-8EDA-CD951FF2A221}" type="presParOf" srcId="{1BEEA471-EA95-A44A-87E3-D62EF062F051}" destId="{CF6706BA-052E-2D49-9905-BDDA0451EF0C}" srcOrd="2" destOrd="0" presId="urn:microsoft.com/office/officeart/2008/layout/LinedList"/>
    <dgm:cxn modelId="{4553DF93-28D8-D84A-B182-3C0EBBDA4178}" type="presParOf" srcId="{C2894D39-B8B3-2645-932B-3C33C18CF355}" destId="{38FA8259-6215-1349-B2BE-C6A725D27439}" srcOrd="8" destOrd="0" presId="urn:microsoft.com/office/officeart/2008/layout/LinedList"/>
    <dgm:cxn modelId="{2D2A7150-D291-A14D-978C-6A90F32E99AB}" type="presParOf" srcId="{C2894D39-B8B3-2645-932B-3C33C18CF355}" destId="{20B30B51-3CA0-4B42-B999-FFFA6A47A903}" srcOrd="9" destOrd="0" presId="urn:microsoft.com/office/officeart/2008/layout/LinedList"/>
    <dgm:cxn modelId="{C13C4DC3-B4F3-F64A-B5DD-C08244276C8F}" type="presParOf" srcId="{C2894D39-B8B3-2645-932B-3C33C18CF355}" destId="{A2694B40-A1F0-DF4F-9362-9B982AB47314}" srcOrd="10" destOrd="0" presId="urn:microsoft.com/office/officeart/2008/layout/LinedList"/>
    <dgm:cxn modelId="{4FB11062-AA5C-2B42-A905-4998DE539048}" type="presParOf" srcId="{A2694B40-A1F0-DF4F-9362-9B982AB47314}" destId="{B1137984-FBA7-4340-A89F-1E46FC4943FE}" srcOrd="0" destOrd="0" presId="urn:microsoft.com/office/officeart/2008/layout/LinedList"/>
    <dgm:cxn modelId="{A7B57676-0713-A646-A540-C35ECCC77371}" type="presParOf" srcId="{A2694B40-A1F0-DF4F-9362-9B982AB47314}" destId="{24E1ACDE-E853-394E-B9F2-40F99DD69A5E}" srcOrd="1" destOrd="0" presId="urn:microsoft.com/office/officeart/2008/layout/LinedList"/>
    <dgm:cxn modelId="{181DC554-6141-C443-BA63-9F1A18D3B0EB}" type="presParOf" srcId="{A2694B40-A1F0-DF4F-9362-9B982AB47314}" destId="{16C70FED-AE7E-EF40-87BE-17452ACCCF06}" srcOrd="2" destOrd="0" presId="urn:microsoft.com/office/officeart/2008/layout/LinedList"/>
    <dgm:cxn modelId="{4884F4E5-B98F-BE45-94AD-F05693649000}" type="presParOf" srcId="{C2894D39-B8B3-2645-932B-3C33C18CF355}" destId="{E8F64688-5232-2D42-A3BE-577D65B68AB3}" srcOrd="11" destOrd="0" presId="urn:microsoft.com/office/officeart/2008/layout/LinedList"/>
    <dgm:cxn modelId="{ED3708DD-8552-924D-A2F0-2645CCA67063}" type="presParOf" srcId="{C2894D39-B8B3-2645-932B-3C33C18CF355}" destId="{335BC010-0CD2-1A43-A023-980C585474B6}" srcOrd="12" destOrd="0" presId="urn:microsoft.com/office/officeart/2008/layout/LinedList"/>
    <dgm:cxn modelId="{174DCF68-E1BD-F34B-9374-9F5356364628}" type="presParOf" srcId="{C2894D39-B8B3-2645-932B-3C33C18CF355}" destId="{6CF9F82A-ABE3-E54F-AA11-6275984518E6}" srcOrd="13" destOrd="0" presId="urn:microsoft.com/office/officeart/2008/layout/LinedList"/>
    <dgm:cxn modelId="{7A2B335A-8A25-5D46-945B-4452B25BD526}" type="presParOf" srcId="{6CF9F82A-ABE3-E54F-AA11-6275984518E6}" destId="{7BE5F064-CC62-FA4B-84E8-ADC4BE11C665}" srcOrd="0" destOrd="0" presId="urn:microsoft.com/office/officeart/2008/layout/LinedList"/>
    <dgm:cxn modelId="{74D2A156-A133-484F-AF3D-5001E47B34C0}" type="presParOf" srcId="{6CF9F82A-ABE3-E54F-AA11-6275984518E6}" destId="{7E24C609-7EFA-B445-B575-B368E9160FD9}" srcOrd="1" destOrd="0" presId="urn:microsoft.com/office/officeart/2008/layout/LinedList"/>
    <dgm:cxn modelId="{4CEB7520-9D5F-FE4E-A14C-A53F46C5340D}" type="presParOf" srcId="{6CF9F82A-ABE3-E54F-AA11-6275984518E6}" destId="{5A34BA86-0E5E-914C-9463-4E3C8C40698C}" srcOrd="2" destOrd="0" presId="urn:microsoft.com/office/officeart/2008/layout/LinedList"/>
    <dgm:cxn modelId="{A85FB1B7-EB30-0847-92FC-621073365429}" type="presParOf" srcId="{C2894D39-B8B3-2645-932B-3C33C18CF355}" destId="{F58CA116-2E1F-6445-AA86-D6A67F45AE32}" srcOrd="14" destOrd="0" presId="urn:microsoft.com/office/officeart/2008/layout/LinedList"/>
    <dgm:cxn modelId="{EDD406A1-FBED-CD4F-BD28-D1689D1D5F0A}" type="presParOf" srcId="{C2894D39-B8B3-2645-932B-3C33C18CF355}" destId="{DED50598-8AD5-CB44-9AE7-78F5F7AEA83E}" srcOrd="15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6BEEAC-6C22-6B49-8CBB-D7528DFFA3F0}">
      <dsp:nvSpPr>
        <dsp:cNvPr id="0" name=""/>
        <dsp:cNvSpPr/>
      </dsp:nvSpPr>
      <dsp:spPr>
        <a:xfrm>
          <a:off x="0" y="0"/>
          <a:ext cx="1922085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CC4042F-BC1A-EB43-806F-E0064A6AAC89}">
      <dsp:nvSpPr>
        <dsp:cNvPr id="0" name=""/>
        <dsp:cNvSpPr/>
      </dsp:nvSpPr>
      <dsp:spPr>
        <a:xfrm>
          <a:off x="0" y="0"/>
          <a:ext cx="1922085" cy="10597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3100" kern="1200" dirty="0"/>
            <a:t>rrsp</a:t>
          </a:r>
        </a:p>
      </dsp:txBody>
      <dsp:txXfrm>
        <a:off x="0" y="0"/>
        <a:ext cx="1922085" cy="1059710"/>
      </dsp:txXfrm>
    </dsp:sp>
    <dsp:sp modelId="{6EBB38CD-EF96-FE4F-813D-B38FFF5D7CA0}">
      <dsp:nvSpPr>
        <dsp:cNvPr id="0" name=""/>
        <dsp:cNvSpPr/>
      </dsp:nvSpPr>
      <dsp:spPr>
        <a:xfrm>
          <a:off x="0" y="1059710"/>
          <a:ext cx="1922085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BE7AAF4-C253-BA43-BF03-9231DE66F2D5}">
      <dsp:nvSpPr>
        <dsp:cNvPr id="0" name=""/>
        <dsp:cNvSpPr/>
      </dsp:nvSpPr>
      <dsp:spPr>
        <a:xfrm>
          <a:off x="0" y="1059710"/>
          <a:ext cx="1922085" cy="10597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3100" kern="1200" dirty="0"/>
            <a:t>medical expenses</a:t>
          </a:r>
        </a:p>
      </dsp:txBody>
      <dsp:txXfrm>
        <a:off x="0" y="1059710"/>
        <a:ext cx="1922085" cy="105971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F5C611-4A57-4D32-BF4D-AD972F42154B}">
      <dsp:nvSpPr>
        <dsp:cNvPr id="0" name=""/>
        <dsp:cNvSpPr/>
      </dsp:nvSpPr>
      <dsp:spPr>
        <a:xfrm>
          <a:off x="0" y="18813"/>
          <a:ext cx="1224907" cy="122490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solidFill>
                <a:schemeClr val="bg1"/>
              </a:solidFill>
            </a:rPr>
            <a:t>Page 17</a:t>
          </a:r>
        </a:p>
      </dsp:txBody>
      <dsp:txXfrm>
        <a:off x="179383" y="198196"/>
        <a:ext cx="866141" cy="86614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F5C611-4A57-4D32-BF4D-AD972F42154B}">
      <dsp:nvSpPr>
        <dsp:cNvPr id="0" name=""/>
        <dsp:cNvSpPr/>
      </dsp:nvSpPr>
      <dsp:spPr>
        <a:xfrm>
          <a:off x="0" y="18813"/>
          <a:ext cx="1224907" cy="122490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solidFill>
                <a:schemeClr val="bg1"/>
              </a:solidFill>
            </a:rPr>
            <a:t>Page 7</a:t>
          </a:r>
        </a:p>
      </dsp:txBody>
      <dsp:txXfrm>
        <a:off x="179383" y="198196"/>
        <a:ext cx="866141" cy="86614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351AAF-E7B0-4D40-909F-BFC2BE4466CE}">
      <dsp:nvSpPr>
        <dsp:cNvPr id="0" name=""/>
        <dsp:cNvSpPr/>
      </dsp:nvSpPr>
      <dsp:spPr>
        <a:xfrm>
          <a:off x="0" y="911"/>
          <a:ext cx="48006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B029329B-EF65-6C45-B952-1F03AA0B5F57}">
      <dsp:nvSpPr>
        <dsp:cNvPr id="0" name=""/>
        <dsp:cNvSpPr/>
      </dsp:nvSpPr>
      <dsp:spPr>
        <a:xfrm>
          <a:off x="0" y="911"/>
          <a:ext cx="4800600" cy="6217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900" kern="1200" dirty="0"/>
            <a:t>family linking</a:t>
          </a:r>
        </a:p>
      </dsp:txBody>
      <dsp:txXfrm>
        <a:off x="0" y="911"/>
        <a:ext cx="4800600" cy="621794"/>
      </dsp:txXfrm>
    </dsp:sp>
    <dsp:sp modelId="{F7D68B2A-AA4D-574F-8AC8-F77A93B34013}">
      <dsp:nvSpPr>
        <dsp:cNvPr id="0" name=""/>
        <dsp:cNvSpPr/>
      </dsp:nvSpPr>
      <dsp:spPr>
        <a:xfrm>
          <a:off x="0" y="622705"/>
          <a:ext cx="48006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B4724289-93A2-9442-98B4-3069A30A6E87}">
      <dsp:nvSpPr>
        <dsp:cNvPr id="0" name=""/>
        <dsp:cNvSpPr/>
      </dsp:nvSpPr>
      <dsp:spPr>
        <a:xfrm>
          <a:off x="0" y="622705"/>
          <a:ext cx="4800600" cy="6217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900" kern="1200" dirty="0"/>
            <a:t>dependants</a:t>
          </a:r>
        </a:p>
      </dsp:txBody>
      <dsp:txXfrm>
        <a:off x="0" y="622705"/>
        <a:ext cx="4800600" cy="621794"/>
      </dsp:txXfrm>
    </dsp:sp>
    <dsp:sp modelId="{33682EC2-2B94-D64B-864F-DC87DD5FE375}">
      <dsp:nvSpPr>
        <dsp:cNvPr id="0" name=""/>
        <dsp:cNvSpPr/>
      </dsp:nvSpPr>
      <dsp:spPr>
        <a:xfrm>
          <a:off x="0" y="1244500"/>
          <a:ext cx="48006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61F5ED1C-6EE3-2F49-A1CB-622645A6CE97}">
      <dsp:nvSpPr>
        <dsp:cNvPr id="0" name=""/>
        <dsp:cNvSpPr/>
      </dsp:nvSpPr>
      <dsp:spPr>
        <a:xfrm>
          <a:off x="0" y="1244500"/>
          <a:ext cx="4800600" cy="6217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900" kern="1200" dirty="0"/>
            <a:t>tuition</a:t>
          </a:r>
        </a:p>
      </dsp:txBody>
      <dsp:txXfrm>
        <a:off x="0" y="1244500"/>
        <a:ext cx="4800600" cy="62179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F5C611-4A57-4D32-BF4D-AD972F42154B}">
      <dsp:nvSpPr>
        <dsp:cNvPr id="0" name=""/>
        <dsp:cNvSpPr/>
      </dsp:nvSpPr>
      <dsp:spPr>
        <a:xfrm>
          <a:off x="0" y="18813"/>
          <a:ext cx="1224907" cy="122490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solidFill>
                <a:schemeClr val="bg1"/>
              </a:solidFill>
            </a:rPr>
            <a:t>Page 8</a:t>
          </a:r>
        </a:p>
      </dsp:txBody>
      <dsp:txXfrm>
        <a:off x="179383" y="198196"/>
        <a:ext cx="866141" cy="86614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9784E5-F0EC-FA4E-B21A-EE1FA2A4637B}">
      <dsp:nvSpPr>
        <dsp:cNvPr id="0" name=""/>
        <dsp:cNvSpPr/>
      </dsp:nvSpPr>
      <dsp:spPr>
        <a:xfrm>
          <a:off x="0" y="0"/>
          <a:ext cx="26670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57E4EA77-3B79-BD4F-B90D-B010A5467407}">
      <dsp:nvSpPr>
        <dsp:cNvPr id="0" name=""/>
        <dsp:cNvSpPr/>
      </dsp:nvSpPr>
      <dsp:spPr>
        <a:xfrm>
          <a:off x="0" y="0"/>
          <a:ext cx="2667000" cy="10667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3100" kern="1200" dirty="0"/>
            <a:t>optimizing</a:t>
          </a:r>
        </a:p>
      </dsp:txBody>
      <dsp:txXfrm>
        <a:off x="0" y="0"/>
        <a:ext cx="2667000" cy="1066799"/>
      </dsp:txXfrm>
    </dsp:sp>
    <dsp:sp modelId="{DAC44777-664D-614E-9A65-A042CA0261CB}">
      <dsp:nvSpPr>
        <dsp:cNvPr id="0" name=""/>
        <dsp:cNvSpPr/>
      </dsp:nvSpPr>
      <dsp:spPr>
        <a:xfrm>
          <a:off x="0" y="1066799"/>
          <a:ext cx="26670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02BC410B-1409-434B-BE0B-4CDF4DC068BD}">
      <dsp:nvSpPr>
        <dsp:cNvPr id="0" name=""/>
        <dsp:cNvSpPr/>
      </dsp:nvSpPr>
      <dsp:spPr>
        <a:xfrm>
          <a:off x="0" y="1066799"/>
          <a:ext cx="2667000" cy="10667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3100" kern="1200" dirty="0"/>
            <a:t>pension splitting</a:t>
          </a:r>
        </a:p>
      </dsp:txBody>
      <dsp:txXfrm>
        <a:off x="0" y="1066799"/>
        <a:ext cx="2667000" cy="106679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F5C611-4A57-4D32-BF4D-AD972F42154B}">
      <dsp:nvSpPr>
        <dsp:cNvPr id="0" name=""/>
        <dsp:cNvSpPr/>
      </dsp:nvSpPr>
      <dsp:spPr>
        <a:xfrm>
          <a:off x="0" y="18813"/>
          <a:ext cx="1224907" cy="122490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solidFill>
                <a:schemeClr val="bg1"/>
              </a:solidFill>
            </a:rPr>
            <a:t>Page 11</a:t>
          </a:r>
        </a:p>
      </dsp:txBody>
      <dsp:txXfrm>
        <a:off x="179383" y="198196"/>
        <a:ext cx="866141" cy="86614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3DCB59-0DFC-CC43-B6AC-5B776270DECA}">
      <dsp:nvSpPr>
        <dsp:cNvPr id="0" name=""/>
        <dsp:cNvSpPr/>
      </dsp:nvSpPr>
      <dsp:spPr>
        <a:xfrm>
          <a:off x="0" y="1096"/>
          <a:ext cx="2990512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B8DF244-5318-2145-B903-A40DD2DF8326}">
      <dsp:nvSpPr>
        <dsp:cNvPr id="0" name=""/>
        <dsp:cNvSpPr/>
      </dsp:nvSpPr>
      <dsp:spPr>
        <a:xfrm>
          <a:off x="0" y="1096"/>
          <a:ext cx="2990512" cy="7481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l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P&amp;L -</a:t>
          </a:r>
          <a:r>
            <a:rPr lang="en-CA" sz="3600" kern="1200" dirty="0"/>
            <a:t> T2125</a:t>
          </a:r>
          <a:endParaRPr lang="en-US" sz="3600" kern="1200" dirty="0"/>
        </a:p>
      </dsp:txBody>
      <dsp:txXfrm>
        <a:off x="0" y="1096"/>
        <a:ext cx="2990512" cy="748107"/>
      </dsp:txXfrm>
    </dsp:sp>
    <dsp:sp modelId="{935409B5-804D-6D46-9348-F31304C14A6A}">
      <dsp:nvSpPr>
        <dsp:cNvPr id="0" name=""/>
        <dsp:cNvSpPr/>
      </dsp:nvSpPr>
      <dsp:spPr>
        <a:xfrm>
          <a:off x="0" y="749204"/>
          <a:ext cx="2990512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DBB5D98-CEA9-4C41-98E8-56C818698418}">
      <dsp:nvSpPr>
        <dsp:cNvPr id="0" name=""/>
        <dsp:cNvSpPr/>
      </dsp:nvSpPr>
      <dsp:spPr>
        <a:xfrm>
          <a:off x="0" y="749204"/>
          <a:ext cx="2990512" cy="7481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l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vehicle</a:t>
          </a:r>
        </a:p>
      </dsp:txBody>
      <dsp:txXfrm>
        <a:off x="0" y="749204"/>
        <a:ext cx="2990512" cy="748107"/>
      </dsp:txXfrm>
    </dsp:sp>
    <dsp:sp modelId="{E17468B5-7BF2-DD45-BFB4-F4D2ECAC12C1}">
      <dsp:nvSpPr>
        <dsp:cNvPr id="0" name=""/>
        <dsp:cNvSpPr/>
      </dsp:nvSpPr>
      <dsp:spPr>
        <a:xfrm>
          <a:off x="0" y="1497312"/>
          <a:ext cx="2990512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BFA939FD-A28D-AA4E-B307-089FBC849DE1}">
      <dsp:nvSpPr>
        <dsp:cNvPr id="0" name=""/>
        <dsp:cNvSpPr/>
      </dsp:nvSpPr>
      <dsp:spPr>
        <a:xfrm>
          <a:off x="0" y="1497312"/>
          <a:ext cx="2990512" cy="7481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l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home office</a:t>
          </a:r>
        </a:p>
      </dsp:txBody>
      <dsp:txXfrm>
        <a:off x="0" y="1497312"/>
        <a:ext cx="2990512" cy="748107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D7DCAF-0535-410C-B056-000B4ED11701}">
      <dsp:nvSpPr>
        <dsp:cNvPr id="0" name=""/>
        <dsp:cNvSpPr/>
      </dsp:nvSpPr>
      <dsp:spPr>
        <a:xfrm>
          <a:off x="240342" y="390"/>
          <a:ext cx="1342358" cy="1342358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page 13</a:t>
          </a:r>
        </a:p>
      </dsp:txBody>
      <dsp:txXfrm>
        <a:off x="436926" y="196974"/>
        <a:ext cx="949190" cy="94919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EF88FA-735B-2243-B377-15AEADF9ECFC}">
      <dsp:nvSpPr>
        <dsp:cNvPr id="0" name=""/>
        <dsp:cNvSpPr/>
      </dsp:nvSpPr>
      <dsp:spPr>
        <a:xfrm>
          <a:off x="0" y="0"/>
          <a:ext cx="411480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E2AE8E7-FC04-BA49-B622-D2F9C310B781}">
      <dsp:nvSpPr>
        <dsp:cNvPr id="0" name=""/>
        <dsp:cNvSpPr/>
      </dsp:nvSpPr>
      <dsp:spPr>
        <a:xfrm>
          <a:off x="0" y="0"/>
          <a:ext cx="822960" cy="49774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marL="0" lvl="0" indent="0" algn="l" defTabSz="2889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6500" kern="1200" dirty="0"/>
        </a:p>
      </dsp:txBody>
      <dsp:txXfrm>
        <a:off x="0" y="0"/>
        <a:ext cx="822960" cy="4977427"/>
      </dsp:txXfrm>
    </dsp:sp>
    <dsp:sp modelId="{514E8E2D-4864-0544-8A1B-AD2F8F810962}">
      <dsp:nvSpPr>
        <dsp:cNvPr id="0" name=""/>
        <dsp:cNvSpPr/>
      </dsp:nvSpPr>
      <dsp:spPr>
        <a:xfrm>
          <a:off x="884682" y="46906"/>
          <a:ext cx="3230118" cy="9381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t" anchorCtr="0">
          <a:noAutofit/>
        </a:bodyPr>
        <a:lstStyle/>
        <a:p>
          <a:pPr marL="0" lvl="0" indent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700" kern="1200" dirty="0"/>
            <a:t>Part-year residents</a:t>
          </a:r>
        </a:p>
      </dsp:txBody>
      <dsp:txXfrm>
        <a:off x="884682" y="46906"/>
        <a:ext cx="3230118" cy="938128"/>
      </dsp:txXfrm>
    </dsp:sp>
    <dsp:sp modelId="{74B9EF75-434B-4545-AFA6-CA6D284C5126}">
      <dsp:nvSpPr>
        <dsp:cNvPr id="0" name=""/>
        <dsp:cNvSpPr/>
      </dsp:nvSpPr>
      <dsp:spPr>
        <a:xfrm>
          <a:off x="822960" y="985034"/>
          <a:ext cx="329184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62B50306-0A49-9447-9177-E7D13913CAA4}">
      <dsp:nvSpPr>
        <dsp:cNvPr id="0" name=""/>
        <dsp:cNvSpPr/>
      </dsp:nvSpPr>
      <dsp:spPr>
        <a:xfrm>
          <a:off x="884682" y="1031941"/>
          <a:ext cx="3230118" cy="9381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t" anchorCtr="0">
          <a:noAutofit/>
        </a:bodyPr>
        <a:lstStyle/>
        <a:p>
          <a:pPr marL="0" lvl="0" indent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700" kern="1200" dirty="0"/>
            <a:t>date of entry</a:t>
          </a:r>
        </a:p>
      </dsp:txBody>
      <dsp:txXfrm>
        <a:off x="884682" y="1031941"/>
        <a:ext cx="3230118" cy="938128"/>
      </dsp:txXfrm>
    </dsp:sp>
    <dsp:sp modelId="{CB0FA2FF-9197-6642-BB4B-D76D1AD82D28}">
      <dsp:nvSpPr>
        <dsp:cNvPr id="0" name=""/>
        <dsp:cNvSpPr/>
      </dsp:nvSpPr>
      <dsp:spPr>
        <a:xfrm>
          <a:off x="822960" y="1970069"/>
          <a:ext cx="329184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6115EA76-CC06-814D-988E-8EE12DA45990}">
      <dsp:nvSpPr>
        <dsp:cNvPr id="0" name=""/>
        <dsp:cNvSpPr/>
      </dsp:nvSpPr>
      <dsp:spPr>
        <a:xfrm>
          <a:off x="884682" y="2016975"/>
          <a:ext cx="3230118" cy="9381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t" anchorCtr="0">
          <a:noAutofit/>
        </a:bodyPr>
        <a:lstStyle/>
        <a:p>
          <a:pPr marL="0" lvl="0" indent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700" kern="1200" dirty="0"/>
            <a:t>Cdn non-res income</a:t>
          </a:r>
        </a:p>
      </dsp:txBody>
      <dsp:txXfrm>
        <a:off x="884682" y="2016975"/>
        <a:ext cx="3230118" cy="938128"/>
      </dsp:txXfrm>
    </dsp:sp>
    <dsp:sp modelId="{38FA8259-6215-1349-B2BE-C6A725D27439}">
      <dsp:nvSpPr>
        <dsp:cNvPr id="0" name=""/>
        <dsp:cNvSpPr/>
      </dsp:nvSpPr>
      <dsp:spPr>
        <a:xfrm>
          <a:off x="822960" y="2955104"/>
          <a:ext cx="329184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24E1ACDE-E853-394E-B9F2-40F99DD69A5E}">
      <dsp:nvSpPr>
        <dsp:cNvPr id="0" name=""/>
        <dsp:cNvSpPr/>
      </dsp:nvSpPr>
      <dsp:spPr>
        <a:xfrm>
          <a:off x="884682" y="3002010"/>
          <a:ext cx="3230118" cy="9381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t" anchorCtr="0">
          <a:noAutofit/>
        </a:bodyPr>
        <a:lstStyle/>
        <a:p>
          <a:pPr marL="0" lvl="0" indent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2700" kern="1200" dirty="0"/>
            <a:t>Foreign non-res income</a:t>
          </a:r>
        </a:p>
      </dsp:txBody>
      <dsp:txXfrm>
        <a:off x="884682" y="3002010"/>
        <a:ext cx="3230118" cy="938128"/>
      </dsp:txXfrm>
    </dsp:sp>
    <dsp:sp modelId="{E8F64688-5232-2D42-A3BE-577D65B68AB3}">
      <dsp:nvSpPr>
        <dsp:cNvPr id="0" name=""/>
        <dsp:cNvSpPr/>
      </dsp:nvSpPr>
      <dsp:spPr>
        <a:xfrm>
          <a:off x="822960" y="3940138"/>
          <a:ext cx="329184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7E24C609-7EFA-B445-B575-B368E9160FD9}">
      <dsp:nvSpPr>
        <dsp:cNvPr id="0" name=""/>
        <dsp:cNvSpPr/>
      </dsp:nvSpPr>
      <dsp:spPr>
        <a:xfrm>
          <a:off x="884682" y="3987045"/>
          <a:ext cx="3230118" cy="9381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t" anchorCtr="0">
          <a:noAutofit/>
        </a:bodyPr>
        <a:lstStyle/>
        <a:p>
          <a:pPr marL="0" lvl="0" indent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2700" kern="1200" dirty="0"/>
        </a:p>
      </dsp:txBody>
      <dsp:txXfrm>
        <a:off x="884682" y="3987045"/>
        <a:ext cx="3230118" cy="938128"/>
      </dsp:txXfrm>
    </dsp:sp>
    <dsp:sp modelId="{F58CA116-2E1F-6445-AA86-D6A67F45AE32}">
      <dsp:nvSpPr>
        <dsp:cNvPr id="0" name=""/>
        <dsp:cNvSpPr/>
      </dsp:nvSpPr>
      <dsp:spPr>
        <a:xfrm>
          <a:off x="822960" y="4925173"/>
          <a:ext cx="3291840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70583" cy="482027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962" y="1"/>
            <a:ext cx="3170583" cy="482027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r">
              <a:defRPr sz="1200"/>
            </a:lvl1pPr>
          </a:lstStyle>
          <a:p>
            <a:fld id="{3969AFCD-3589-4BCD-B1CD-5D68B5A45A62}" type="datetimeFigureOut">
              <a:rPr lang="en-CA" smtClean="0"/>
              <a:t>2020-12-13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173"/>
            <a:ext cx="3170583" cy="482027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962" y="9119173"/>
            <a:ext cx="3170583" cy="482027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r">
              <a:defRPr sz="1200"/>
            </a:lvl1pPr>
          </a:lstStyle>
          <a:p>
            <a:fld id="{DB55A2A7-17EB-4531-ACA7-9942674A0C8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436104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r">
              <a:defRPr sz="1200"/>
            </a:lvl1pPr>
          </a:lstStyle>
          <a:p>
            <a:fld id="{C9078E22-508E-460D-B418-3C5F4B0802A2}" type="datetimeFigureOut">
              <a:rPr lang="en-US" smtClean="0"/>
              <a:t>12/13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851" tIns="47425" rIns="94851" bIns="4742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4851" tIns="47425" rIns="94851" bIns="4742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6"/>
            <a:ext cx="3169920" cy="481726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6"/>
            <a:ext cx="3169920" cy="481726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r">
              <a:defRPr sz="1200"/>
            </a:lvl1pPr>
          </a:lstStyle>
          <a:p>
            <a:fld id="{6B19A31D-4D4F-47CE-9926-B2771FC72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1672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966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Refer to pages 7-9 and discuss</a:t>
            </a:r>
          </a:p>
          <a:p>
            <a:endParaRPr lang="en-US" baseline="0" dirty="0"/>
          </a:p>
          <a:p>
            <a:r>
              <a:rPr lang="en-US" baseline="0" dirty="0"/>
              <a:t>- Recording RRSP slips and medical expenses</a:t>
            </a:r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	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2069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Discuss</a:t>
            </a:r>
          </a:p>
          <a:p>
            <a:r>
              <a:rPr lang="en-US" baseline="0" dirty="0"/>
              <a:t>Creating a </a:t>
            </a:r>
            <a:r>
              <a:rPr lang="en-US" baseline="0" dirty="0" err="1"/>
              <a:t>dependant’s</a:t>
            </a:r>
            <a:r>
              <a:rPr lang="en-US" baseline="0" dirty="0"/>
              <a:t> return </a:t>
            </a:r>
            <a:r>
              <a:rPr lang="mr-IN" baseline="0" dirty="0"/>
              <a:t>–</a:t>
            </a:r>
            <a:r>
              <a:rPr lang="en-US" baseline="0" dirty="0"/>
              <a:t> page 8</a:t>
            </a:r>
          </a:p>
          <a:p>
            <a:r>
              <a:rPr lang="en-US" baseline="0" dirty="0"/>
              <a:t>Tuition transfers - Page 10</a:t>
            </a:r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	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6670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Refer to Pages 10-12 and discuss</a:t>
            </a:r>
          </a:p>
          <a:p>
            <a:r>
              <a:rPr lang="en-US" baseline="0" dirty="0"/>
              <a:t>Optimizing </a:t>
            </a:r>
            <a:r>
              <a:rPr lang="mr-IN" baseline="0" dirty="0"/>
              <a:t>–</a:t>
            </a:r>
            <a:r>
              <a:rPr lang="en-CA" baseline="0" dirty="0"/>
              <a:t> P10</a:t>
            </a:r>
          </a:p>
          <a:p>
            <a:r>
              <a:rPr lang="en-CA" baseline="0" dirty="0"/>
              <a:t>Pension splitting </a:t>
            </a:r>
            <a:r>
              <a:rPr lang="mr-IN" baseline="0" dirty="0"/>
              <a:t>–</a:t>
            </a:r>
            <a:r>
              <a:rPr lang="en-CA" baseline="0" dirty="0"/>
              <a:t> P11</a:t>
            </a:r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	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543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Refer to page 13 and introduce a T2125 for the self-employed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Describe the P&amp;L at page 13 and the T2125 at Page 14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Go on to Page 15 and discuss the way in which vehicle expenses are entered</a:t>
            </a:r>
          </a:p>
          <a:p>
            <a:pPr marL="171450" indent="-171450">
              <a:buFontTx/>
              <a:buChar char="-"/>
            </a:pPr>
            <a:r>
              <a:rPr lang="en-US" baseline="0" dirty="0"/>
              <a:t>And also discuss home-office expen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8D59A4-DDC9-43DD-9D1A-5A16C63BC4A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2608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  <a:p>
            <a:endParaRPr lang="en-CA" baseline="0" dirty="0"/>
          </a:p>
          <a:p>
            <a:r>
              <a:rPr lang="en-CA" baseline="0" dirty="0"/>
              <a:t>Discuss Part-year residents </a:t>
            </a:r>
            <a:r>
              <a:rPr lang="mr-IN" baseline="0" dirty="0"/>
              <a:t>–</a:t>
            </a:r>
            <a:r>
              <a:rPr lang="en-CA" baseline="0" dirty="0"/>
              <a:t> at pages 17</a:t>
            </a:r>
          </a:p>
          <a:p>
            <a:endParaRPr lang="en-CA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	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3851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profile-background.gi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0226" y="609600"/>
            <a:ext cx="5741773" cy="6248400"/>
          </a:xfrm>
          <a:prstGeom prst="rect">
            <a:avLst/>
          </a:prstGeom>
        </p:spPr>
      </p:pic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550" y="5014013"/>
            <a:ext cx="7083174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198" b="0" i="0" cap="none" spc="-31">
                <a:solidFill>
                  <a:schemeClr val="tx1"/>
                </a:solidFill>
                <a:latin typeface="+mn-lt"/>
                <a:cs typeface="Avenir Next Demi Bold"/>
              </a:defRPr>
            </a:lvl1pPr>
            <a:lvl2pPr marL="456741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3485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0226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6965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an author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550" y="4430582"/>
            <a:ext cx="7083174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chemeClr val="tx1"/>
                </a:solidFill>
                <a:latin typeface="+mn-lt"/>
              </a:defRPr>
            </a:lvl1pPr>
          </a:lstStyle>
          <a:p>
            <a:fld id="{4AD69C48-1A55-A744-96DC-6BD26E535E94}" type="datetimeFigureOut">
              <a:rPr lang="en-US" smtClean="0"/>
              <a:t>12/13/20</a:t>
            </a:fld>
            <a:endParaRPr lang="en-US"/>
          </a:p>
        </p:txBody>
      </p: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>
          <a:xfrm>
            <a:off x="1436972" y="1979097"/>
            <a:ext cx="7084753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5000"/>
              </a:lnSpc>
              <a:defRPr sz="6996" b="1" i="0" cap="none" spc="-31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a title</a:t>
            </a:r>
          </a:p>
        </p:txBody>
      </p:sp>
      <p:pic>
        <p:nvPicPr>
          <p:cNvPr id="10" name="Picture 9" descr="profile logo copy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211" y="527468"/>
            <a:ext cx="1812367" cy="519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675438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2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708170" y="2974957"/>
            <a:ext cx="10750260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6000" b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1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42623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Thr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88821" cy="6857998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7824141" y="331846"/>
            <a:ext cx="39095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CA" sz="1999" dirty="0">
                <a:solidFill>
                  <a:schemeClr val="bg1"/>
                </a:solidFill>
                <a:latin typeface="Avenir Next Medium"/>
              </a:rPr>
              <a:t>#</a:t>
            </a:r>
            <a:r>
              <a:rPr lang="en-CA" sz="1999" dirty="0">
                <a:solidFill>
                  <a:schemeClr val="bg1"/>
                </a:solidFill>
                <a:latin typeface="Avenir Next Regular"/>
              </a:rPr>
              <a:t>Intuit</a:t>
            </a:r>
            <a:r>
              <a:rPr lang="en-CA" sz="1999" dirty="0">
                <a:solidFill>
                  <a:schemeClr val="bg1"/>
                </a:solidFill>
                <a:latin typeface="Avenir Next Medium"/>
              </a:rPr>
              <a:t>THRIVE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04691" y="1087338"/>
            <a:ext cx="9835853" cy="2387600"/>
          </a:xfrm>
        </p:spPr>
        <p:txBody>
          <a:bodyPr anchor="b"/>
          <a:lstStyle>
            <a:lvl1pPr algn="l"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804691" y="3567014"/>
            <a:ext cx="9835853" cy="1655763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bg1"/>
                </a:solidFill>
              </a:defRPr>
            </a:lvl1pPr>
            <a:lvl2pPr marL="457064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90" indent="0" algn="ctr">
              <a:buNone/>
              <a:defRPr sz="1600"/>
            </a:lvl4pPr>
            <a:lvl5pPr marL="1828252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6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23777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2529584"/>
            <a:ext cx="12188824" cy="2587831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647593" y="3226896"/>
            <a:ext cx="10742720" cy="681038"/>
          </a:xfrm>
          <a:prstGeom prst="rect">
            <a:avLst/>
          </a:prstGeom>
        </p:spPr>
        <p:txBody>
          <a:bodyPr anchor="b"/>
          <a:lstStyle>
            <a:lvl1pPr algn="l">
              <a:defRPr sz="4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46849" y="4086856"/>
            <a:ext cx="10743463" cy="388937"/>
          </a:xfrm>
          <a:prstGeom prst="rect">
            <a:avLst/>
          </a:prstGeom>
        </p:spPr>
        <p:txBody>
          <a:bodyPr tIns="0" bIns="0"/>
          <a:lstStyle>
            <a:lvl1pPr marL="0" indent="0">
              <a:buFont typeface="Times" pitchFamily="18" charset="0"/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44" y="0"/>
            <a:ext cx="3115581" cy="317120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44" y="0"/>
            <a:ext cx="3115581" cy="317120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61896" y="5134067"/>
            <a:ext cx="4365716" cy="5476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2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523412" y="702469"/>
            <a:ext cx="2802894" cy="1235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2667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- Styli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1877291"/>
            <a:ext cx="12188825" cy="2587831"/>
          </a:xfrm>
          <a:prstGeom prst="rect">
            <a:avLst/>
          </a:prstGeom>
          <a:solidFill>
            <a:srgbClr val="FFFFFF">
              <a:alpha val="66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279773" y="2855650"/>
            <a:ext cx="11589728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8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0" y="1877290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31000">
                  <a:srgbClr val="7F92C1"/>
                </a:gs>
                <a:gs pos="0">
                  <a:schemeClr val="accent1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0" y="4465121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2000">
                  <a:srgbClr val="7F92C1"/>
                </a:gs>
                <a:gs pos="100000">
                  <a:schemeClr val="accent1"/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141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03213" y="990600"/>
            <a:ext cx="11582400" cy="5410200"/>
          </a:xfrm>
          <a:prstGeom prst="rect">
            <a:avLst/>
          </a:prstGeom>
        </p:spPr>
        <p:txBody>
          <a:bodyPr/>
          <a:lstStyle>
            <a:lvl1pPr marL="233363" indent="-233363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  <a:defRPr sz="2600">
                <a:solidFill>
                  <a:schemeClr val="tx2"/>
                </a:solidFill>
              </a:defRPr>
            </a:lvl1pPr>
            <a:lvl2pPr marL="742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2400">
                <a:solidFill>
                  <a:schemeClr val="tx2"/>
                </a:solidFill>
              </a:defRPr>
            </a:lvl2pPr>
            <a:lvl3pPr marL="1143000" indent="-2286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2000">
                <a:solidFill>
                  <a:schemeClr val="tx2"/>
                </a:solidFill>
              </a:defRPr>
            </a:lvl4pPr>
            <a:lvl5pPr marL="2057400" indent="-2286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7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686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6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29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7327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no logo - w/pg# &amp; confidential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37FC1EB-0E93-49BC-A789-875D1A7F4D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37812" y="6171784"/>
            <a:ext cx="1548420" cy="68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870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TL with lt gr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1986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5029200" cy="638269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This is a picture placehold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775325" y="304800"/>
            <a:ext cx="6111875" cy="72427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775325" y="1279437"/>
            <a:ext cx="6111874" cy="5103256"/>
          </a:xfrm>
          <a:prstGeom prst="rect">
            <a:avLst/>
          </a:prstGeom>
        </p:spPr>
        <p:txBody>
          <a:bodyPr/>
          <a:lstStyle>
            <a:lvl1pPr marL="233363" indent="-233363">
              <a:spcAft>
                <a:spcPts val="1200"/>
              </a:spcAft>
              <a:buClr>
                <a:srgbClr val="365EBF"/>
              </a:buClr>
              <a:buFont typeface="Wingdings" panose="05000000000000000000" pitchFamily="2" charset="2"/>
              <a:buChar char="v"/>
              <a:defRPr sz="2400">
                <a:solidFill>
                  <a:schemeClr val="tx2"/>
                </a:solidFill>
              </a:defRPr>
            </a:lvl1pPr>
            <a:lvl2pPr marL="742950" indent="-28575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2000">
                <a:solidFill>
                  <a:schemeClr val="tx2"/>
                </a:solidFill>
              </a:defRPr>
            </a:lvl2pPr>
            <a:lvl3pPr marL="1143000" indent="-22860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1800">
                <a:solidFill>
                  <a:schemeClr val="tx2"/>
                </a:solidFill>
              </a:defRPr>
            </a:lvl3pPr>
            <a:lvl4pPr marL="1600200" indent="-22860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1600">
                <a:solidFill>
                  <a:schemeClr val="tx2"/>
                </a:solidFill>
              </a:defRPr>
            </a:lvl4pPr>
            <a:lvl5pPr marL="2057400" indent="-22860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9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0338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2869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02" r:id="rId2"/>
    <p:sldLayoutId id="2147483797" r:id="rId3"/>
    <p:sldLayoutId id="2147483795" r:id="rId4"/>
    <p:sldLayoutId id="2147483796" r:id="rId5"/>
    <p:sldLayoutId id="2147483798" r:id="rId6"/>
    <p:sldLayoutId id="2147483799" r:id="rId7"/>
    <p:sldLayoutId id="2147483800" r:id="rId8"/>
    <p:sldLayoutId id="2147483801" r:id="rId9"/>
    <p:sldLayoutId id="2147483803" r:id="rId10"/>
    <p:sldLayoutId id="214748381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diagramColors" Target="../diagrams/colors2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1.xml"/><Relationship Id="rId12" Type="http://schemas.openxmlformats.org/officeDocument/2006/relationships/diagramQuickStyle" Target="../diagrams/quickStyle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.xml"/><Relationship Id="rId11" Type="http://schemas.openxmlformats.org/officeDocument/2006/relationships/diagramLayout" Target="../diagrams/layout2.xml"/><Relationship Id="rId5" Type="http://schemas.openxmlformats.org/officeDocument/2006/relationships/diagramLayout" Target="../diagrams/layout1.xml"/><Relationship Id="rId15" Type="http://schemas.openxmlformats.org/officeDocument/2006/relationships/image" Target="../media/image9.png"/><Relationship Id="rId10" Type="http://schemas.openxmlformats.org/officeDocument/2006/relationships/diagramData" Target="../diagrams/data2.xml"/><Relationship Id="rId4" Type="http://schemas.openxmlformats.org/officeDocument/2006/relationships/diagramData" Target="../diagrams/data1.xml"/><Relationship Id="rId9" Type="http://schemas.openxmlformats.org/officeDocument/2006/relationships/image" Target="../media/image8.emf"/><Relationship Id="rId14" Type="http://schemas.microsoft.com/office/2007/relationships/diagramDrawing" Target="../diagrams/drawing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image" Target="../media/image10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13" Type="http://schemas.microsoft.com/office/2007/relationships/diagramDrawing" Target="../diagrams/drawing6.xml"/><Relationship Id="rId3" Type="http://schemas.openxmlformats.org/officeDocument/2006/relationships/image" Target="../media/image11.png"/><Relationship Id="rId7" Type="http://schemas.openxmlformats.org/officeDocument/2006/relationships/diagramColors" Target="../diagrams/colors5.xml"/><Relationship Id="rId12" Type="http://schemas.openxmlformats.org/officeDocument/2006/relationships/diagramColors" Target="../diagrams/colors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5.xml"/><Relationship Id="rId11" Type="http://schemas.openxmlformats.org/officeDocument/2006/relationships/diagramQuickStyle" Target="../diagrams/quickStyle6.xml"/><Relationship Id="rId5" Type="http://schemas.openxmlformats.org/officeDocument/2006/relationships/diagramLayout" Target="../diagrams/layout5.xml"/><Relationship Id="rId10" Type="http://schemas.openxmlformats.org/officeDocument/2006/relationships/diagramLayout" Target="../diagrams/layout6.xml"/><Relationship Id="rId4" Type="http://schemas.openxmlformats.org/officeDocument/2006/relationships/diagramData" Target="../diagrams/data5.xml"/><Relationship Id="rId9" Type="http://schemas.openxmlformats.org/officeDocument/2006/relationships/diagramData" Target="../diagrams/data6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openxmlformats.org/officeDocument/2006/relationships/diagramColors" Target="../diagrams/colors8.xml"/><Relationship Id="rId3" Type="http://schemas.openxmlformats.org/officeDocument/2006/relationships/image" Target="../media/image12.png"/><Relationship Id="rId7" Type="http://schemas.openxmlformats.org/officeDocument/2006/relationships/diagramColors" Target="../diagrams/colors7.xml"/><Relationship Id="rId12" Type="http://schemas.openxmlformats.org/officeDocument/2006/relationships/diagramQuickStyle" Target="../diagrams/quickStyle8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7.xml"/><Relationship Id="rId11" Type="http://schemas.openxmlformats.org/officeDocument/2006/relationships/diagramLayout" Target="../diagrams/layout8.xml"/><Relationship Id="rId5" Type="http://schemas.openxmlformats.org/officeDocument/2006/relationships/diagramLayout" Target="../diagrams/layout7.xml"/><Relationship Id="rId10" Type="http://schemas.openxmlformats.org/officeDocument/2006/relationships/diagramData" Target="../diagrams/data8.xml"/><Relationship Id="rId4" Type="http://schemas.openxmlformats.org/officeDocument/2006/relationships/diagramData" Target="../diagrams/data7.xml"/><Relationship Id="rId9" Type="http://schemas.openxmlformats.org/officeDocument/2006/relationships/image" Target="../media/image13.png"/><Relationship Id="rId14" Type="http://schemas.microsoft.com/office/2007/relationships/diagramDrawing" Target="../diagrams/drawing8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13" Type="http://schemas.microsoft.com/office/2007/relationships/diagramDrawing" Target="../diagrams/drawing10.xml"/><Relationship Id="rId3" Type="http://schemas.openxmlformats.org/officeDocument/2006/relationships/image" Target="../media/image14.png"/><Relationship Id="rId7" Type="http://schemas.openxmlformats.org/officeDocument/2006/relationships/diagramColors" Target="../diagrams/colors9.xml"/><Relationship Id="rId12" Type="http://schemas.openxmlformats.org/officeDocument/2006/relationships/diagramColors" Target="../diagrams/colors10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9.xml"/><Relationship Id="rId11" Type="http://schemas.openxmlformats.org/officeDocument/2006/relationships/diagramQuickStyle" Target="../diagrams/quickStyle10.xml"/><Relationship Id="rId5" Type="http://schemas.openxmlformats.org/officeDocument/2006/relationships/diagramLayout" Target="../diagrams/layout9.xml"/><Relationship Id="rId10" Type="http://schemas.openxmlformats.org/officeDocument/2006/relationships/diagramLayout" Target="../diagrams/layout10.xml"/><Relationship Id="rId4" Type="http://schemas.openxmlformats.org/officeDocument/2006/relationships/diagramData" Target="../diagrams/data9.xml"/><Relationship Id="rId9" Type="http://schemas.openxmlformats.org/officeDocument/2006/relationships/diagramData" Target="../diagrams/data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3212" y="1752600"/>
            <a:ext cx="8610600" cy="3349542"/>
          </a:xfrm>
        </p:spPr>
        <p:txBody>
          <a:bodyPr/>
          <a:lstStyle/>
          <a:p>
            <a:r>
              <a:rPr lang="en-US" sz="5400" dirty="0"/>
              <a:t>Learning about Taxes with Intuit ProFile </a:t>
            </a:r>
            <a:br>
              <a:rPr lang="en-US" sz="5400" dirty="0"/>
            </a:br>
            <a:endParaRPr lang="en-CA" sz="5400" dirty="0"/>
          </a:p>
        </p:txBody>
      </p:sp>
    </p:spTree>
    <p:extLst>
      <p:ext uri="{BB962C8B-B14F-4D97-AF65-F5344CB8AC3E}">
        <p14:creationId xmlns:p14="http://schemas.microsoft.com/office/powerpoint/2010/main" val="12764729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3212" y="1752600"/>
            <a:ext cx="8610600" cy="3349542"/>
          </a:xfrm>
        </p:spPr>
        <p:txBody>
          <a:bodyPr/>
          <a:lstStyle/>
          <a:p>
            <a:r>
              <a:rPr lang="en-US" sz="5400" dirty="0"/>
              <a:t>Chapter 5</a:t>
            </a:r>
            <a:br>
              <a:rPr lang="en-US" sz="5400" dirty="0"/>
            </a:br>
            <a:r>
              <a:rPr lang="en-US" sz="5400" dirty="0"/>
              <a:t>Advanced T1 Work</a:t>
            </a:r>
            <a:endParaRPr lang="en-CA" sz="5400" dirty="0"/>
          </a:p>
        </p:txBody>
      </p:sp>
    </p:spTree>
    <p:extLst>
      <p:ext uri="{BB962C8B-B14F-4D97-AF65-F5344CB8AC3E}">
        <p14:creationId xmlns:p14="http://schemas.microsoft.com/office/powerpoint/2010/main" val="5789648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3B2D1B5-D106-1541-BEFE-1AE8987366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012" y="1828800"/>
            <a:ext cx="5232400" cy="429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5577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F16D98E-10C9-4A4A-AA27-7CF1660002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312" y="1199610"/>
            <a:ext cx="5486400" cy="4333875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0" y="6184371"/>
            <a:ext cx="12188825" cy="731738"/>
          </a:xfrm>
        </p:spPr>
        <p:txBody>
          <a:bodyPr anchor="b"/>
          <a:lstStyle>
            <a:lvl1pPr algn="l" defTabSz="914400" rtl="0" eaLnBrk="1" latinLnBrk="0" hangingPunct="1">
              <a:spcBef>
                <a:spcPct val="0"/>
              </a:spcBef>
              <a:buNone/>
              <a:defRPr sz="47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CA" dirty="0"/>
              <a:t>advanced t1</a:t>
            </a: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669092644"/>
              </p:ext>
            </p:extLst>
          </p:nvPr>
        </p:nvGraphicFramePr>
        <p:xfrm>
          <a:off x="9371012" y="2592474"/>
          <a:ext cx="1922085" cy="21194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559" y="375933"/>
            <a:ext cx="1922084" cy="846423"/>
          </a:xfrm>
          <a:prstGeom prst="rect">
            <a:avLst/>
          </a:prstGeom>
        </p:spPr>
      </p:pic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585C350C-DE69-4AD1-943E-AABCDE50EA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39234432"/>
              </p:ext>
            </p:extLst>
          </p:nvPr>
        </p:nvGraphicFramePr>
        <p:xfrm>
          <a:off x="455612" y="5348330"/>
          <a:ext cx="1224907" cy="12625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1E8D55-E43F-9745-AF29-3F663663163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1212" y="2819400"/>
            <a:ext cx="5486400" cy="35750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983559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0" y="6167086"/>
            <a:ext cx="12188825" cy="731738"/>
          </a:xfrm>
        </p:spPr>
        <p:txBody>
          <a:bodyPr anchor="b"/>
          <a:lstStyle>
            <a:lvl1pPr algn="l" defTabSz="914400" rtl="0" eaLnBrk="1" latinLnBrk="0" hangingPunct="1">
              <a:spcBef>
                <a:spcPct val="0"/>
              </a:spcBef>
              <a:buNone/>
              <a:defRPr sz="47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CA"/>
              <a:t>advanced </a:t>
            </a:r>
            <a:r>
              <a:rPr lang="en-CA" dirty="0"/>
              <a:t>t1</a:t>
            </a: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1778042258"/>
              </p:ext>
            </p:extLst>
          </p:nvPr>
        </p:nvGraphicFramePr>
        <p:xfrm>
          <a:off x="3579812" y="4414727"/>
          <a:ext cx="4800600" cy="18672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5E4905D2-0A45-4EA9-A039-65075C807B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31525372"/>
              </p:ext>
            </p:extLst>
          </p:nvPr>
        </p:nvGraphicFramePr>
        <p:xfrm>
          <a:off x="455612" y="5348330"/>
          <a:ext cx="1224907" cy="12625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45C35FC6-9F9E-FC4A-B937-74304471827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8501" y="1589461"/>
            <a:ext cx="9109680" cy="267175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041342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FA39A14-1082-5848-9212-8BF9F784E5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6212" y="1246353"/>
            <a:ext cx="6542088" cy="5364512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1112" y="6126262"/>
            <a:ext cx="12188825" cy="731738"/>
          </a:xfrm>
        </p:spPr>
        <p:txBody>
          <a:bodyPr anchor="b"/>
          <a:lstStyle>
            <a:lvl1pPr algn="l" defTabSz="914400" rtl="0" eaLnBrk="1" latinLnBrk="0" hangingPunct="1">
              <a:spcBef>
                <a:spcPct val="0"/>
              </a:spcBef>
              <a:buNone/>
              <a:defRPr sz="47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CA"/>
              <a:t>advanced </a:t>
            </a:r>
            <a:r>
              <a:rPr lang="en-CA" dirty="0"/>
              <a:t>t1</a:t>
            </a: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2907401364"/>
              </p:ext>
            </p:extLst>
          </p:nvPr>
        </p:nvGraphicFramePr>
        <p:xfrm>
          <a:off x="8304212" y="1981200"/>
          <a:ext cx="2667000" cy="2133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4D62DFE0-2A58-4B3A-8127-37DCA58BA6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2880131"/>
              </p:ext>
            </p:extLst>
          </p:nvPr>
        </p:nvGraphicFramePr>
        <p:xfrm>
          <a:off x="455612" y="5348330"/>
          <a:ext cx="1224907" cy="12625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915964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9A29FBC-2761-5B40-86C7-01FE9897C1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1878" y="610386"/>
            <a:ext cx="4495800" cy="5427316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265195593"/>
              </p:ext>
            </p:extLst>
          </p:nvPr>
        </p:nvGraphicFramePr>
        <p:xfrm>
          <a:off x="8494824" y="1676400"/>
          <a:ext cx="2990512" cy="22465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AF5B391-7714-CC4A-8F70-854CC87A828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6450" y="1452349"/>
            <a:ext cx="3291840" cy="504698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39B5D1E-A387-462A-81BB-75EFB9E3B1EE}"/>
              </a:ext>
            </a:extLst>
          </p:cNvPr>
          <p:cNvSpPr txBox="1">
            <a:spLocks/>
          </p:cNvSpPr>
          <p:nvPr/>
        </p:nvSpPr>
        <p:spPr>
          <a:xfrm>
            <a:off x="227012" y="6045933"/>
            <a:ext cx="12038012" cy="800100"/>
          </a:xfrm>
        </p:spPr>
        <p:txBody>
          <a:bodyPr anchor="b"/>
          <a:lstStyle>
            <a:lvl1pPr algn="l" defTabSz="914400" rtl="0" eaLnBrk="1" latinLnBrk="0" hangingPunct="1">
              <a:spcBef>
                <a:spcPct val="0"/>
              </a:spcBef>
              <a:buNone/>
              <a:defRPr sz="47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CA"/>
              <a:t>the </a:t>
            </a:r>
            <a:r>
              <a:rPr lang="en-CA" dirty="0"/>
              <a:t>self-employed</a:t>
            </a:r>
          </a:p>
        </p:txBody>
      </p:sp>
      <p:graphicFrame>
        <p:nvGraphicFramePr>
          <p:cNvPr id="9" name="Content Placeholder 2">
            <a:extLst>
              <a:ext uri="{FF2B5EF4-FFF2-40B4-BE49-F238E27FC236}">
                <a16:creationId xmlns:a16="http://schemas.microsoft.com/office/drawing/2014/main" id="{2C83258E-263B-452C-9487-3C6A9C5E683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6924771"/>
              </p:ext>
            </p:extLst>
          </p:nvPr>
        </p:nvGraphicFramePr>
        <p:xfrm>
          <a:off x="303212" y="5366132"/>
          <a:ext cx="1823044" cy="13431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  <p:extLst>
      <p:ext uri="{BB962C8B-B14F-4D97-AF65-F5344CB8AC3E}">
        <p14:creationId xmlns:p14="http://schemas.microsoft.com/office/powerpoint/2010/main" val="12410901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685569C-5B18-3643-876E-937AFEF518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787" y="2043747"/>
            <a:ext cx="6962230" cy="383538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71905" y="6120427"/>
            <a:ext cx="12188825" cy="731738"/>
          </a:xfrm>
        </p:spPr>
        <p:txBody>
          <a:bodyPr anchor="b"/>
          <a:lstStyle>
            <a:lvl1pPr algn="l" defTabSz="914400" rtl="0" eaLnBrk="1" latinLnBrk="0" hangingPunct="1">
              <a:spcBef>
                <a:spcPct val="0"/>
              </a:spcBef>
              <a:buNone/>
              <a:defRPr sz="47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CA" sz="4400" dirty="0"/>
              <a:t>part-year residents</a:t>
            </a: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970345730"/>
              </p:ext>
            </p:extLst>
          </p:nvPr>
        </p:nvGraphicFramePr>
        <p:xfrm>
          <a:off x="7263122" y="1295400"/>
          <a:ext cx="4114800" cy="49774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9EECFDE-9003-4CC7-9C8C-F329BE4A189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2230101"/>
              </p:ext>
            </p:extLst>
          </p:nvPr>
        </p:nvGraphicFramePr>
        <p:xfrm>
          <a:off x="455612" y="5348330"/>
          <a:ext cx="1224907" cy="12625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16422045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3212" y="1752600"/>
            <a:ext cx="8610600" cy="3349542"/>
          </a:xfrm>
        </p:spPr>
        <p:txBody>
          <a:bodyPr/>
          <a:lstStyle/>
          <a:p>
            <a:r>
              <a:rPr lang="en-US" sz="5400" dirty="0"/>
              <a:t>End</a:t>
            </a:r>
            <a:endParaRPr lang="en-CA" sz="5400" dirty="0"/>
          </a:p>
        </p:txBody>
      </p:sp>
    </p:spTree>
    <p:extLst>
      <p:ext uri="{BB962C8B-B14F-4D97-AF65-F5344CB8AC3E}">
        <p14:creationId xmlns:p14="http://schemas.microsoft.com/office/powerpoint/2010/main" val="20265457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White Template Blue Intuit Logo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Standard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1 Intuit Template - White Background - Widescreen [Read-Only]" id="{F225971D-B64B-41D1-A728-2636CCD64A25}" vid="{97301D22-312C-4BB4-A39D-16453ABE494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01 Intuit Template - White Background - Widescreen July 2014</Template>
  <TotalTime>37417</TotalTime>
  <Words>168</Words>
  <Application>Microsoft Macintosh PowerPoint</Application>
  <PresentationFormat>Custom</PresentationFormat>
  <Paragraphs>78</Paragraphs>
  <Slides>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Avenir Next Medium</vt:lpstr>
      <vt:lpstr>Avenir Next Regular</vt:lpstr>
      <vt:lpstr>Calibri</vt:lpstr>
      <vt:lpstr>Times</vt:lpstr>
      <vt:lpstr>Wingdings</vt:lpstr>
      <vt:lpstr>1_White Template Blue Intuit Logo</vt:lpstr>
      <vt:lpstr>think-cell Slide</vt:lpstr>
      <vt:lpstr>Learning about Taxes with Intuit ProFile  </vt:lpstr>
      <vt:lpstr>Chapter 5 Advanced T1 Wor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n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M Offer Template</dc:title>
  <dc:creator>Magner, Barb</dc:creator>
  <cp:lastModifiedBy>Michael Di Lauro</cp:lastModifiedBy>
  <cp:revision>617</cp:revision>
  <cp:lastPrinted>2017-01-10T23:11:41Z</cp:lastPrinted>
  <dcterms:created xsi:type="dcterms:W3CDTF">2014-09-11T15:23:46Z</dcterms:created>
  <dcterms:modified xsi:type="dcterms:W3CDTF">2020-12-13T17:38:42Z</dcterms:modified>
</cp:coreProperties>
</file>